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5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6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56" r:id="rId1"/>
    <p:sldMasterId id="2147483920" r:id="rId2"/>
    <p:sldMasterId id="2147483937" r:id="rId3"/>
    <p:sldMasterId id="2147483969" r:id="rId4"/>
    <p:sldMasterId id="2147483979" r:id="rId5"/>
    <p:sldMasterId id="2147484065" r:id="rId6"/>
    <p:sldMasterId id="2147484075" r:id="rId7"/>
  </p:sldMasterIdLst>
  <p:notesMasterIdLst>
    <p:notesMasterId r:id="rId26"/>
  </p:notesMasterIdLst>
  <p:handoutMasterIdLst>
    <p:handoutMasterId r:id="rId27"/>
  </p:handoutMasterIdLst>
  <p:sldIdLst>
    <p:sldId id="9450" r:id="rId8"/>
    <p:sldId id="607" r:id="rId9"/>
    <p:sldId id="633" r:id="rId10"/>
    <p:sldId id="9466" r:id="rId11"/>
    <p:sldId id="629" r:id="rId12"/>
    <p:sldId id="9454" r:id="rId13"/>
    <p:sldId id="9461" r:id="rId14"/>
    <p:sldId id="9462" r:id="rId15"/>
    <p:sldId id="9453" r:id="rId16"/>
    <p:sldId id="9463" r:id="rId17"/>
    <p:sldId id="612" r:id="rId18"/>
    <p:sldId id="611" r:id="rId19"/>
    <p:sldId id="628" r:id="rId20"/>
    <p:sldId id="9451" r:id="rId21"/>
    <p:sldId id="9452" r:id="rId22"/>
    <p:sldId id="9459" r:id="rId23"/>
    <p:sldId id="9464" r:id="rId24"/>
    <p:sldId id="9447" r:id="rId25"/>
  </p:sldIdLst>
  <p:sldSz cx="9144000" cy="5143500" type="screen16x9"/>
  <p:notesSz cx="6815138" cy="9944100"/>
  <p:defaultTextStyle>
    <a:defPPr>
      <a:defRPr lang="en-US"/>
    </a:defPPr>
    <a:lvl1pPr algn="l" defTabSz="685450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panose="020B0604020202020204" pitchFamily="34" charset="0"/>
        <a:ea typeface="Arial Unicode MS" panose="020B0604020202020204" pitchFamily="34" charset="-128"/>
        <a:cs typeface="Arial Unicode MS" panose="020B0604020202020204" pitchFamily="34" charset="-128"/>
      </a:defRPr>
    </a:lvl1pPr>
    <a:lvl2pPr marL="342728" indent="114242" algn="l" defTabSz="685450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panose="020B0604020202020204" pitchFamily="34" charset="0"/>
        <a:ea typeface="Arial Unicode MS" panose="020B0604020202020204" pitchFamily="34" charset="-128"/>
        <a:cs typeface="Arial Unicode MS" panose="020B0604020202020204" pitchFamily="34" charset="-128"/>
      </a:defRPr>
    </a:lvl2pPr>
    <a:lvl3pPr marL="685450" indent="228484" algn="l" defTabSz="685450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panose="020B0604020202020204" pitchFamily="34" charset="0"/>
        <a:ea typeface="Arial Unicode MS" panose="020B0604020202020204" pitchFamily="34" charset="-128"/>
        <a:cs typeface="Arial Unicode MS" panose="020B0604020202020204" pitchFamily="34" charset="-128"/>
      </a:defRPr>
    </a:lvl3pPr>
    <a:lvl4pPr marL="1028178" indent="342728" algn="l" defTabSz="685450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panose="020B0604020202020204" pitchFamily="34" charset="0"/>
        <a:ea typeface="Arial Unicode MS" panose="020B0604020202020204" pitchFamily="34" charset="-128"/>
        <a:cs typeface="Arial Unicode MS" panose="020B0604020202020204" pitchFamily="34" charset="-128"/>
      </a:defRPr>
    </a:lvl4pPr>
    <a:lvl5pPr marL="1370905" indent="456968" algn="l" defTabSz="685450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panose="020B0604020202020204" pitchFamily="34" charset="0"/>
        <a:ea typeface="Arial Unicode MS" panose="020B0604020202020204" pitchFamily="34" charset="-128"/>
        <a:cs typeface="Arial Unicode MS" panose="020B0604020202020204" pitchFamily="34" charset="-128"/>
      </a:defRPr>
    </a:lvl5pPr>
    <a:lvl6pPr marL="2284839" algn="l" defTabSz="913936" rtl="0" eaLnBrk="1" latinLnBrk="0" hangingPunct="1">
      <a:defRPr sz="1400" kern="1200">
        <a:solidFill>
          <a:schemeClr val="tx1"/>
        </a:solidFill>
        <a:latin typeface="Arial" panose="020B0604020202020204" pitchFamily="34" charset="0"/>
        <a:ea typeface="Arial Unicode MS" panose="020B0604020202020204" pitchFamily="34" charset="-128"/>
        <a:cs typeface="Arial Unicode MS" panose="020B0604020202020204" pitchFamily="34" charset="-128"/>
      </a:defRPr>
    </a:lvl6pPr>
    <a:lvl7pPr marL="2741808" algn="l" defTabSz="913936" rtl="0" eaLnBrk="1" latinLnBrk="0" hangingPunct="1">
      <a:defRPr sz="1400" kern="1200">
        <a:solidFill>
          <a:schemeClr val="tx1"/>
        </a:solidFill>
        <a:latin typeface="Arial" panose="020B0604020202020204" pitchFamily="34" charset="0"/>
        <a:ea typeface="Arial Unicode MS" panose="020B0604020202020204" pitchFamily="34" charset="-128"/>
        <a:cs typeface="Arial Unicode MS" panose="020B0604020202020204" pitchFamily="34" charset="-128"/>
      </a:defRPr>
    </a:lvl7pPr>
    <a:lvl8pPr marL="3198773" algn="l" defTabSz="913936" rtl="0" eaLnBrk="1" latinLnBrk="0" hangingPunct="1">
      <a:defRPr sz="1400" kern="1200">
        <a:solidFill>
          <a:schemeClr val="tx1"/>
        </a:solidFill>
        <a:latin typeface="Arial" panose="020B0604020202020204" pitchFamily="34" charset="0"/>
        <a:ea typeface="Arial Unicode MS" panose="020B0604020202020204" pitchFamily="34" charset="-128"/>
        <a:cs typeface="Arial Unicode MS" panose="020B0604020202020204" pitchFamily="34" charset="-128"/>
      </a:defRPr>
    </a:lvl8pPr>
    <a:lvl9pPr marL="3655743" algn="l" defTabSz="913936" rtl="0" eaLnBrk="1" latinLnBrk="0" hangingPunct="1">
      <a:defRPr sz="1400" kern="1200">
        <a:solidFill>
          <a:schemeClr val="tx1"/>
        </a:solidFill>
        <a:latin typeface="Arial" panose="020B0604020202020204" pitchFamily="34" charset="0"/>
        <a:ea typeface="Arial Unicode MS" panose="020B0604020202020204" pitchFamily="34" charset="-128"/>
        <a:cs typeface="Arial Unicode MS" panose="020B0604020202020204" pitchFamily="34" charset="-128"/>
      </a:defRPr>
    </a:lvl9pPr>
  </p:defaultTextStyle>
  <p:extLst>
    <p:ext uri="{EFAFB233-063F-42B5-8137-9DF3F51BA10A}">
      <p15:sldGuideLst xmlns:p15="http://schemas.microsoft.com/office/powerpoint/2012/main">
        <p15:guide id="1" orient="horz" pos="2352">
          <p15:clr>
            <a:srgbClr val="A4A3A4"/>
          </p15:clr>
        </p15:guide>
        <p15:guide id="2" orient="horz" pos="1764">
          <p15:clr>
            <a:srgbClr val="A4A3A4"/>
          </p15:clr>
        </p15:guide>
        <p15:guide id="3" pos="3840">
          <p15:clr>
            <a:srgbClr val="A4A3A4"/>
          </p15:clr>
        </p15:guide>
        <p15:guide id="4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CC5C"/>
    <a:srgbClr val="12C1AF"/>
    <a:srgbClr val="FFFFFF"/>
    <a:srgbClr val="FDE8A4"/>
    <a:srgbClr val="006FCE"/>
    <a:srgbClr val="F8C51B"/>
    <a:srgbClr val="FBDD76"/>
    <a:srgbClr val="2CBCEE"/>
    <a:srgbClr val="002060"/>
    <a:srgbClr val="A7F7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613" autoAdjust="0"/>
    <p:restoredTop sz="97406" autoAdjust="0"/>
  </p:normalViewPr>
  <p:slideViewPr>
    <p:cSldViewPr snapToGrid="0">
      <p:cViewPr varScale="1">
        <p:scale>
          <a:sx n="115" d="100"/>
          <a:sy n="115" d="100"/>
        </p:scale>
        <p:origin x="1020" y="102"/>
      </p:cViewPr>
      <p:guideLst>
        <p:guide orient="horz" pos="2352"/>
        <p:guide orient="horz" pos="1764"/>
        <p:guide pos="384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handoutMaster" Target="handoutMasters/handoutMaster1.xml"/><Relationship Id="rId30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3226" cy="496729"/>
          </a:xfrm>
          <a:prstGeom prst="rect">
            <a:avLst/>
          </a:prstGeom>
        </p:spPr>
        <p:txBody>
          <a:bodyPr vert="horz" lIns="91347" tIns="45674" rIns="91347" bIns="45674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60336" y="0"/>
            <a:ext cx="2953226" cy="496729"/>
          </a:xfrm>
          <a:prstGeom prst="rect">
            <a:avLst/>
          </a:prstGeom>
        </p:spPr>
        <p:txBody>
          <a:bodyPr vert="horz" lIns="91347" tIns="45674" rIns="91347" bIns="45674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94AD55C0-645A-4B78-9E2C-3B8ED3789813}" type="datetimeFigureOut">
              <a:rPr lang="ru-RU"/>
              <a:pPr>
                <a:defRPr/>
              </a:pPr>
              <a:t>20.04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5784"/>
            <a:ext cx="2953226" cy="496729"/>
          </a:xfrm>
          <a:prstGeom prst="rect">
            <a:avLst/>
          </a:prstGeom>
        </p:spPr>
        <p:txBody>
          <a:bodyPr vert="horz" lIns="91347" tIns="45674" rIns="91347" bIns="45674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60336" y="9445784"/>
            <a:ext cx="2953226" cy="496729"/>
          </a:xfrm>
          <a:prstGeom prst="rect">
            <a:avLst/>
          </a:prstGeom>
        </p:spPr>
        <p:txBody>
          <a:bodyPr vert="horz" wrap="square" lIns="91347" tIns="45674" rIns="91347" bIns="45674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anose="020F0502020204030204" pitchFamily="34" charset="0"/>
              </a:defRPr>
            </a:lvl1pPr>
          </a:lstStyle>
          <a:p>
            <a:fld id="{3E0B5017-09A9-48EE-AF5B-D414255F3136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901134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3226" cy="496729"/>
          </a:xfrm>
          <a:prstGeom prst="rect">
            <a:avLst/>
          </a:prstGeom>
        </p:spPr>
        <p:txBody>
          <a:bodyPr vert="horz" lIns="91601" tIns="45801" rIns="91601" bIns="45801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60336" y="0"/>
            <a:ext cx="2953226" cy="496729"/>
          </a:xfrm>
          <a:prstGeom prst="rect">
            <a:avLst/>
          </a:prstGeom>
        </p:spPr>
        <p:txBody>
          <a:bodyPr vert="horz" lIns="91601" tIns="45801" rIns="91601" bIns="45801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C5FDF067-D052-4116-B384-0FC9333F4B79}" type="datetimeFigureOut">
              <a:rPr lang="ru-RU"/>
              <a:pPr>
                <a:defRPr/>
              </a:pPr>
              <a:t>20.04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6125"/>
            <a:ext cx="6627812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601" tIns="45801" rIns="91601" bIns="45801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1515" y="4722892"/>
            <a:ext cx="5452110" cy="4475321"/>
          </a:xfrm>
          <a:prstGeom prst="rect">
            <a:avLst/>
          </a:prstGeom>
        </p:spPr>
        <p:txBody>
          <a:bodyPr vert="horz" lIns="91601" tIns="45801" rIns="91601" bIns="45801" rtlCol="0">
            <a:normAutofit/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5784"/>
            <a:ext cx="2953226" cy="496729"/>
          </a:xfrm>
          <a:prstGeom prst="rect">
            <a:avLst/>
          </a:prstGeom>
        </p:spPr>
        <p:txBody>
          <a:bodyPr vert="horz" lIns="91601" tIns="45801" rIns="91601" bIns="45801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60336" y="9445784"/>
            <a:ext cx="2953226" cy="496729"/>
          </a:xfrm>
          <a:prstGeom prst="rect">
            <a:avLst/>
          </a:prstGeom>
        </p:spPr>
        <p:txBody>
          <a:bodyPr vert="horz" wrap="square" lIns="91601" tIns="45801" rIns="91601" bIns="458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anose="020F0502020204030204" pitchFamily="34" charset="0"/>
              </a:defRPr>
            </a:lvl1pPr>
          </a:lstStyle>
          <a:p>
            <a:fld id="{05BBD655-B24C-4F4B-AB12-A9D5F54A9AA8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4883772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685450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728" algn="l" defTabSz="685450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450" algn="l" defTabSz="685450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178" algn="l" defTabSz="685450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0905" algn="l" defTabSz="685450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3630" algn="l" defTabSz="68545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6356" algn="l" defTabSz="68545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399080" algn="l" defTabSz="68545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1808" algn="l" defTabSz="68545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4194" name="Slide Image Placeholder 1">
            <a:extLst>
              <a:ext uri="{FF2B5EF4-FFF2-40B4-BE49-F238E27FC236}">
                <a16:creationId xmlns:a16="http://schemas.microsoft.com/office/drawing/2014/main" id="{599A348A-4250-4752-8FC6-D12EE8C2856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3663" y="746125"/>
            <a:ext cx="6627812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4195" name="Notes Placeholder 2">
            <a:extLst>
              <a:ext uri="{FF2B5EF4-FFF2-40B4-BE49-F238E27FC236}">
                <a16:creationId xmlns:a16="http://schemas.microsoft.com/office/drawing/2014/main" id="{B7BB8CCB-159E-4B17-B847-D8381E073FC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ru-RU"/>
              <a:t>Insert picture/ Right Click/Send to back</a:t>
            </a:r>
          </a:p>
          <a:p>
            <a:pPr eaLnBrk="1" hangingPunct="1">
              <a:spcBef>
                <a:spcPct val="0"/>
              </a:spcBef>
            </a:pPr>
            <a:endParaRPr lang="en-US" altLang="ru-RU"/>
          </a:p>
        </p:txBody>
      </p:sp>
      <p:sp>
        <p:nvSpPr>
          <p:cNvPr id="264196" name="Slide Number Placeholder 3">
            <a:extLst>
              <a:ext uri="{FF2B5EF4-FFF2-40B4-BE49-F238E27FC236}">
                <a16:creationId xmlns:a16="http://schemas.microsoft.com/office/drawing/2014/main" id="{120A3680-CD3D-4720-9259-0C10161B1E4B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7768" indent="-287602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50411" indent="-230082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10575" indent="-230082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70741" indent="-230082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30905" indent="-23008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91068" indent="-23008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51232" indent="-23008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911396" indent="-23008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25833FF2-67A3-4064-8E89-8EA179FFBFEB}" type="slidenum">
              <a:rPr lang="en-US" altLang="ru-RU">
                <a:solidFill>
                  <a:prstClr val="black"/>
                </a:solidFill>
                <a:latin typeface="Calibri" panose="020F0502020204030204" pitchFamily="34" charset="0"/>
              </a:rPr>
              <a:pPr eaLnBrk="1" hangingPunct="1"/>
              <a:t>0</a:t>
            </a:fld>
            <a:endParaRPr lang="en-US" altLang="ru-RU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04425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582856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3663" y="746125"/>
            <a:ext cx="6627812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710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4710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0699" indent="-284884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39536" indent="-227907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595350" indent="-227907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1166" indent="-227907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06980" indent="-227907" defTabSz="683722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62794" indent="-227907" defTabSz="683722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18609" indent="-227907" defTabSz="683722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74423" indent="-227907" defTabSz="683722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fld id="{6E42CFCE-1715-4D32-B58B-129B0E995F84}" type="slidenum">
              <a:rPr lang="ru-RU" altLang="en-US" sz="1200">
                <a:latin typeface="Calibri" panose="020F0502020204030204" pitchFamily="34" charset="0"/>
              </a:rPr>
              <a:pPr/>
              <a:t>4</a:t>
            </a:fld>
            <a:endParaRPr lang="ru-RU" altLang="en-US" sz="120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02510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3663" y="746125"/>
            <a:ext cx="6627812" cy="37290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D7E3AF-9D82-41F8-A6AB-4363CA782E91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330561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3663" y="746125"/>
            <a:ext cx="6627812" cy="37290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D7E3AF-9D82-41F8-A6AB-4363CA782E91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163933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D7E3AF-9D82-41F8-A6AB-4363CA782E91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49413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3663" y="746125"/>
            <a:ext cx="6627812" cy="37290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BBD655-B24C-4F4B-AB12-A9D5F54A9AA8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21542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3663" y="746125"/>
            <a:ext cx="6627812" cy="37290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BBD655-B24C-4F4B-AB12-A9D5F54A9AA8}" type="slidenum">
              <a:rPr lang="ru-RU" smtClean="0"/>
              <a:pPr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78894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42647" y="254632"/>
            <a:ext cx="8679898" cy="543185"/>
          </a:xfrm>
          <a:prstGeom prst="rect">
            <a:avLst/>
          </a:prstGeom>
        </p:spPr>
        <p:txBody>
          <a:bodyPr lIns="68546" tIns="34272" rIns="68546" bIns="34272" anchor="ctr"/>
          <a:lstStyle>
            <a:lvl1pPr marL="0" indent="0" algn="ctr">
              <a:buNone/>
              <a:defRPr sz="41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ru-RU" altLang="ko-KR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8731004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20663" y="930277"/>
            <a:ext cx="7808912" cy="369332"/>
          </a:xfrm>
        </p:spPr>
        <p:txBody>
          <a:bodyPr/>
          <a:lstStyle>
            <a:lvl1pPr>
              <a:defRPr sz="2400" b="1" i="0">
                <a:solidFill>
                  <a:srgbClr val="0462BA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101725" y="2395541"/>
            <a:ext cx="7488238" cy="276999"/>
          </a:xfrm>
        </p:spPr>
        <p:txBody>
          <a:bodyPr/>
          <a:lstStyle>
            <a:lvl1pPr>
              <a:defRPr sz="1800" b="0" i="0">
                <a:solidFill>
                  <a:srgbClr val="2A3990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671DFE-6FDD-49EE-AF4E-D19321A23A74}" type="datetime1">
              <a:rPr lang="en-US" smtClean="0"/>
              <a:pPr>
                <a:defRPr/>
              </a:pPr>
              <a:t>4/20/20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BE71C86-1B18-451B-B911-D43E59B42E03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510811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20663" y="930277"/>
            <a:ext cx="7808912" cy="369332"/>
          </a:xfrm>
        </p:spPr>
        <p:txBody>
          <a:bodyPr/>
          <a:lstStyle>
            <a:lvl1pPr>
              <a:defRPr sz="2400" b="1" i="0">
                <a:solidFill>
                  <a:srgbClr val="0462BA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183009"/>
            <a:ext cx="3977640" cy="276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183009"/>
            <a:ext cx="3977640" cy="276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  <p:sp>
        <p:nvSpPr>
          <p:cNvPr id="6" name="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010E5B-B06C-4EEC-A6A6-E0E788B61612}" type="datetime1">
              <a:rPr lang="en-US" smtClean="0"/>
              <a:pPr>
                <a:defRPr/>
              </a:pPr>
              <a:t>4/20/2022</a:t>
            </a:fld>
            <a:endParaRPr lang="en-US"/>
          </a:p>
        </p:txBody>
      </p:sp>
      <p:sp>
        <p:nvSpPr>
          <p:cNvPr id="7" name="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2BF72A6-2C21-4883-BEBA-3CBFDA01CD33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708236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20663" y="930277"/>
            <a:ext cx="7808912" cy="369332"/>
          </a:xfrm>
        </p:spPr>
        <p:txBody>
          <a:bodyPr/>
          <a:lstStyle>
            <a:lvl1pPr>
              <a:defRPr sz="2400" b="1" i="0">
                <a:solidFill>
                  <a:srgbClr val="0462BA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  <p:sp>
        <p:nvSpPr>
          <p:cNvPr id="4" name="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AE59DB-C25C-412A-A4EF-40D90FC3C985}" type="datetime1">
              <a:rPr lang="en-US" smtClean="0"/>
              <a:pPr>
                <a:defRPr/>
              </a:pPr>
              <a:t>4/20/2022</a:t>
            </a:fld>
            <a:endParaRPr lang="en-US"/>
          </a:p>
        </p:txBody>
      </p:sp>
      <p:sp>
        <p:nvSpPr>
          <p:cNvPr id="5" name="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356C123-7E52-4A7B-9B56-9AF78EFBF5CD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927021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4" name="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659CBBFA-3D7A-47EC-B212-7FC8DEEBB4F3}" type="datetime1">
              <a:rPr lang="en-US" smtClean="0"/>
              <a:pPr>
                <a:defRPr/>
              </a:pPr>
              <a:t>4/20/2022</a:t>
            </a:fld>
            <a:endParaRPr lang="en-US"/>
          </a:p>
        </p:txBody>
      </p:sp>
      <p:sp>
        <p:nvSpPr>
          <p:cNvPr id="5" name="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23A0914-54D0-41E6-9D76-3358253E6BC7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951889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8877306" y="4960944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4" tIns="45696" rIns="91394" bIns="45696" anchor="ctr"/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algn="ctr" eaLnBrk="1" hangingPunct="1"/>
            <a:fld id="{709A136D-5FD5-443C-9A35-E82BB5479BC7}" type="slidenum">
              <a:rPr lang="ru-RU" altLang="ru-RU" sz="800" b="1">
                <a:solidFill>
                  <a:srgbClr val="000000"/>
                </a:solidFill>
                <a:cs typeface="Arial" panose="020B0604020202020204" pitchFamily="34" charset="0"/>
              </a:rPr>
              <a:pPr algn="ctr" eaLnBrk="1" hangingPunct="1"/>
              <a:t>‹#›</a:t>
            </a:fld>
            <a:endParaRPr lang="ru-RU" altLang="ru-RU" sz="800" b="1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4106576"/>
      </p:ext>
    </p:extLst>
  </p:cSld>
  <p:clrMapOvr>
    <a:masterClrMapping/>
  </p:clrMapOvr>
  <p:transition spd="slow">
    <p:push dir="u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4981582"/>
            <a:ext cx="9144000" cy="161925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4" tIns="45696" rIns="91394" bIns="45696" anchor="ctr"/>
          <a:lstStyle/>
          <a:p>
            <a:pPr marL="0" marR="0" lvl="0" indent="0" algn="ctr" defTabSz="69075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8864050" y="4981582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4" tIns="45696" rIns="91394" bIns="45696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69019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A93956F-647A-44B9-8163-DDB447652883}" type="slidenum">
              <a:rPr kumimoji="0" lang="ru-RU" altLang="ru-RU" sz="8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69019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94561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731947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42647" y="254632"/>
            <a:ext cx="8679898" cy="543185"/>
          </a:xfrm>
          <a:prstGeom prst="rect">
            <a:avLst/>
          </a:prstGeom>
        </p:spPr>
        <p:txBody>
          <a:bodyPr lIns="68546" tIns="34272" rIns="68546" bIns="34272" anchor="ctr"/>
          <a:lstStyle>
            <a:lvl1pPr marL="0" indent="0" algn="ctr">
              <a:buNone/>
              <a:defRPr sz="41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ru-RU" altLang="ko-KR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6849013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42647" y="254632"/>
            <a:ext cx="8679898" cy="543185"/>
          </a:xfrm>
          <a:prstGeom prst="rect">
            <a:avLst/>
          </a:prstGeom>
        </p:spPr>
        <p:txBody>
          <a:bodyPr lIns="68546" tIns="34272" rIns="68546" bIns="34272" anchor="ctr"/>
          <a:lstStyle>
            <a:lvl1pPr marL="0" indent="0" algn="ctr">
              <a:buNone/>
              <a:defRPr sz="41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ru-RU" altLang="ko-KR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44304137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653361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8618912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6529783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75710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2677487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829646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951871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2067823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6" tIns="34272" rIns="68546" bIns="34272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532090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2"/>
          </p:nvPr>
        </p:nvSpPr>
        <p:spPr>
          <a:xfrm>
            <a:off x="0" y="5"/>
            <a:ext cx="9144000" cy="235131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  <p:sp>
        <p:nvSpPr>
          <p:cNvPr id="5" name="Picture Placeholder 2"/>
          <p:cNvSpPr>
            <a:spLocks noGrp="1"/>
          </p:cNvSpPr>
          <p:nvPr>
            <p:ph type="pic" idx="13"/>
          </p:nvPr>
        </p:nvSpPr>
        <p:spPr>
          <a:xfrm>
            <a:off x="679217" y="1558700"/>
            <a:ext cx="1723620" cy="1566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  <p:sp>
        <p:nvSpPr>
          <p:cNvPr id="6" name="Picture Placeholder 2"/>
          <p:cNvSpPr>
            <a:spLocks noGrp="1"/>
          </p:cNvSpPr>
          <p:nvPr>
            <p:ph type="pic" idx="14"/>
          </p:nvPr>
        </p:nvSpPr>
        <p:spPr>
          <a:xfrm>
            <a:off x="4711771" y="1558700"/>
            <a:ext cx="1723620" cy="1566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idx="15"/>
          </p:nvPr>
        </p:nvSpPr>
        <p:spPr>
          <a:xfrm>
            <a:off x="2695494" y="1558700"/>
            <a:ext cx="1723620" cy="1566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  <p:sp>
        <p:nvSpPr>
          <p:cNvPr id="8" name="Picture Placeholder 2"/>
          <p:cNvSpPr>
            <a:spLocks noGrp="1"/>
          </p:cNvSpPr>
          <p:nvPr>
            <p:ph type="pic" idx="16"/>
          </p:nvPr>
        </p:nvSpPr>
        <p:spPr>
          <a:xfrm>
            <a:off x="6728048" y="1558700"/>
            <a:ext cx="1723620" cy="1566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42647" y="555080"/>
            <a:ext cx="8679898" cy="543185"/>
          </a:xfrm>
          <a:prstGeom prst="rect">
            <a:avLst/>
          </a:prstGeom>
        </p:spPr>
        <p:txBody>
          <a:bodyPr lIns="68546" tIns="34272" rIns="68546" bIns="34272" anchor="ctr"/>
          <a:lstStyle>
            <a:lvl1pPr marL="0" indent="0" algn="ctr">
              <a:buNone/>
              <a:defRPr sz="41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ru-RU" altLang="ko-KR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2760237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1520831"/>
            <a:ext cx="9144000" cy="53975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6" tIns="34272" rIns="68546" bIns="34272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3543305"/>
            <a:ext cx="9144000" cy="53975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6" tIns="34272" rIns="68546" bIns="34272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42647" y="254632"/>
            <a:ext cx="8679898" cy="543185"/>
          </a:xfrm>
          <a:prstGeom prst="rect">
            <a:avLst/>
          </a:prstGeom>
        </p:spPr>
        <p:txBody>
          <a:bodyPr lIns="68546" tIns="34272" rIns="68546" bIns="34272" anchor="ctr"/>
          <a:lstStyle>
            <a:lvl1pPr marL="0" indent="0" algn="ctr">
              <a:buNone/>
              <a:defRPr sz="41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ru-RU" altLang="ko-KR"/>
              <a:t>Образец текста</a:t>
            </a:r>
          </a:p>
        </p:txBody>
      </p:sp>
      <p:sp>
        <p:nvSpPr>
          <p:cNvPr id="4" name="Picture Placeholder 2"/>
          <p:cNvSpPr>
            <a:spLocks noGrp="1"/>
          </p:cNvSpPr>
          <p:nvPr>
            <p:ph type="pic" idx="13"/>
          </p:nvPr>
        </p:nvSpPr>
        <p:spPr>
          <a:xfrm>
            <a:off x="0" y="1620499"/>
            <a:ext cx="9144000" cy="187707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68546" tIns="34272" rIns="68546" bIns="34272" anchor="ctr"/>
          <a:lstStyle>
            <a:lvl1pPr marL="0" indent="0" algn="ctr">
              <a:buNone/>
              <a:defRPr sz="1400" baseline="0">
                <a:latin typeface="+mn-lt"/>
                <a:cs typeface="Arial" pitchFamily="34" charset="0"/>
              </a:defRPr>
            </a:lvl1pPr>
            <a:lvl2pPr marL="342728" indent="0">
              <a:buNone/>
              <a:defRPr sz="2100"/>
            </a:lvl2pPr>
            <a:lvl3pPr marL="685450" indent="0">
              <a:buNone/>
              <a:defRPr sz="1800"/>
            </a:lvl3pPr>
            <a:lvl4pPr marL="1028178" indent="0">
              <a:buNone/>
              <a:defRPr sz="1500"/>
            </a:lvl4pPr>
            <a:lvl5pPr marL="1370905" indent="0">
              <a:buNone/>
              <a:defRPr sz="1500"/>
            </a:lvl5pPr>
            <a:lvl6pPr marL="1713630" indent="0">
              <a:buNone/>
              <a:defRPr sz="1500"/>
            </a:lvl6pPr>
            <a:lvl7pPr marL="2056356" indent="0">
              <a:buNone/>
              <a:defRPr sz="1500"/>
            </a:lvl7pPr>
            <a:lvl8pPr marL="2399080" indent="0">
              <a:buNone/>
              <a:defRPr sz="1500"/>
            </a:lvl8pPr>
            <a:lvl9pPr marL="2741808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</p:spTree>
    <p:extLst>
      <p:ext uri="{BB962C8B-B14F-4D97-AF65-F5344CB8AC3E}">
        <p14:creationId xmlns:p14="http://schemas.microsoft.com/office/powerpoint/2010/main" val="190880692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그림 개체 틀 12"/>
          <p:cNvSpPr>
            <a:spLocks noGrp="1"/>
          </p:cNvSpPr>
          <p:nvPr>
            <p:ph type="pic" sz="quarter" idx="10"/>
          </p:nvPr>
        </p:nvSpPr>
        <p:spPr>
          <a:xfrm>
            <a:off x="599302" y="917494"/>
            <a:ext cx="4080821" cy="3541485"/>
          </a:xfrm>
          <a:custGeom>
            <a:avLst/>
            <a:gdLst>
              <a:gd name="connsiteX0" fmla="*/ 2090352 w 5441094"/>
              <a:gd name="connsiteY0" fmla="*/ 2977952 h 4721980"/>
              <a:gd name="connsiteX1" fmla="*/ 3101888 w 5441094"/>
              <a:gd name="connsiteY1" fmla="*/ 4721980 h 4721980"/>
              <a:gd name="connsiteX2" fmla="*/ 1078816 w 5441094"/>
              <a:gd name="connsiteY2" fmla="*/ 4721980 h 4721980"/>
              <a:gd name="connsiteX3" fmla="*/ 2191267 w 5441094"/>
              <a:gd name="connsiteY3" fmla="*/ 2940880 h 4721980"/>
              <a:gd name="connsiteX4" fmla="*/ 4155992 w 5441094"/>
              <a:gd name="connsiteY4" fmla="*/ 2940880 h 4721980"/>
              <a:gd name="connsiteX5" fmla="*/ 3173629 w 5441094"/>
              <a:gd name="connsiteY5" fmla="*/ 4634609 h 4721980"/>
              <a:gd name="connsiteX6" fmla="*/ 0 w 5441094"/>
              <a:gd name="connsiteY6" fmla="*/ 2928524 h 4721980"/>
              <a:gd name="connsiteX7" fmla="*/ 2023072 w 5441094"/>
              <a:gd name="connsiteY7" fmla="*/ 2928524 h 4721980"/>
              <a:gd name="connsiteX8" fmla="*/ 1011536 w 5441094"/>
              <a:gd name="connsiteY8" fmla="*/ 4672552 h 4721980"/>
              <a:gd name="connsiteX9" fmla="*/ 982363 w 5441094"/>
              <a:gd name="connsiteY9" fmla="*/ 1120204 h 4721980"/>
              <a:gd name="connsiteX10" fmla="*/ 1964725 w 5441094"/>
              <a:gd name="connsiteY10" fmla="*/ 2813933 h 4721980"/>
              <a:gd name="connsiteX11" fmla="*/ 0 w 5441094"/>
              <a:gd name="connsiteY11" fmla="*/ 2813933 h 4721980"/>
              <a:gd name="connsiteX12" fmla="*/ 3816180 w 5441094"/>
              <a:gd name="connsiteY12" fmla="*/ 12357 h 4721980"/>
              <a:gd name="connsiteX13" fmla="*/ 5441094 w 5441094"/>
              <a:gd name="connsiteY13" fmla="*/ 2813933 h 4721980"/>
              <a:gd name="connsiteX14" fmla="*/ 2191266 w 5441094"/>
              <a:gd name="connsiteY14" fmla="*/ 2813933 h 4721980"/>
              <a:gd name="connsiteX15" fmla="*/ 465439 w 5441094"/>
              <a:gd name="connsiteY15" fmla="*/ 0 h 4721980"/>
              <a:gd name="connsiteX16" fmla="*/ 3715267 w 5441094"/>
              <a:gd name="connsiteY16" fmla="*/ 0 h 4721980"/>
              <a:gd name="connsiteX17" fmla="*/ 2090353 w 5441094"/>
              <a:gd name="connsiteY17" fmla="*/ 2801576 h 47219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441094" h="4721980">
                <a:moveTo>
                  <a:pt x="2090352" y="2977952"/>
                </a:moveTo>
                <a:lnTo>
                  <a:pt x="3101888" y="4721980"/>
                </a:lnTo>
                <a:lnTo>
                  <a:pt x="1078816" y="4721980"/>
                </a:lnTo>
                <a:close/>
                <a:moveTo>
                  <a:pt x="2191267" y="2940880"/>
                </a:moveTo>
                <a:lnTo>
                  <a:pt x="4155992" y="2940880"/>
                </a:lnTo>
                <a:lnTo>
                  <a:pt x="3173629" y="4634609"/>
                </a:lnTo>
                <a:close/>
                <a:moveTo>
                  <a:pt x="0" y="2928524"/>
                </a:moveTo>
                <a:lnTo>
                  <a:pt x="2023072" y="2928524"/>
                </a:lnTo>
                <a:lnTo>
                  <a:pt x="1011536" y="4672552"/>
                </a:lnTo>
                <a:close/>
                <a:moveTo>
                  <a:pt x="982363" y="1120204"/>
                </a:moveTo>
                <a:lnTo>
                  <a:pt x="1964725" y="2813933"/>
                </a:lnTo>
                <a:lnTo>
                  <a:pt x="0" y="2813933"/>
                </a:lnTo>
                <a:close/>
                <a:moveTo>
                  <a:pt x="3816180" y="12357"/>
                </a:moveTo>
                <a:lnTo>
                  <a:pt x="5441094" y="2813933"/>
                </a:lnTo>
                <a:lnTo>
                  <a:pt x="2191266" y="2813933"/>
                </a:lnTo>
                <a:close/>
                <a:moveTo>
                  <a:pt x="465439" y="0"/>
                </a:moveTo>
                <a:lnTo>
                  <a:pt x="3715267" y="0"/>
                </a:lnTo>
                <a:lnTo>
                  <a:pt x="2090353" y="280157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 lIns="68546" tIns="34272" rIns="68546" bIns="34272" anchor="ctr">
            <a:noAutofit/>
          </a:bodyPr>
          <a:lstStyle>
            <a:lvl1pPr marL="0" marR="0" indent="0" algn="ctr" defTabSz="685485" rtl="0" eaLnBrk="1" fontAlgn="auto" latinLnBrk="1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/>
            </a:lvl1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</p:spTree>
    <p:extLst>
      <p:ext uri="{BB962C8B-B14F-4D97-AF65-F5344CB8AC3E}">
        <p14:creationId xmlns:p14="http://schemas.microsoft.com/office/powerpoint/2010/main" val="27904154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97792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247900"/>
            <a:ext cx="9144000" cy="14033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6" tIns="34272" rIns="68546" bIns="34272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>
              <a:solidFill>
                <a:prstClr val="white"/>
              </a:solidFill>
            </a:endParaRPr>
          </a:p>
        </p:txBody>
      </p:sp>
      <p:grpSp>
        <p:nvGrpSpPr>
          <p:cNvPr id="5" name="Group 6"/>
          <p:cNvGrpSpPr>
            <a:grpSpLocks/>
          </p:cNvGrpSpPr>
          <p:nvPr userDrawn="1"/>
        </p:nvGrpSpPr>
        <p:grpSpPr bwMode="auto">
          <a:xfrm>
            <a:off x="3573469" y="1165225"/>
            <a:ext cx="1997075" cy="3513138"/>
            <a:chOff x="445712" y="1449040"/>
            <a:chExt cx="2113018" cy="3924176"/>
          </a:xfrm>
        </p:grpSpPr>
        <p:sp>
          <p:nvSpPr>
            <p:cNvPr id="6" name="Rounded Rectangle 7"/>
            <p:cNvSpPr/>
            <p:nvPr userDrawn="1"/>
          </p:nvSpPr>
          <p:spPr>
            <a:xfrm>
              <a:off x="445712" y="1449040"/>
              <a:ext cx="2113018" cy="3924176"/>
            </a:xfrm>
            <a:prstGeom prst="roundRect">
              <a:avLst>
                <a:gd name="adj" fmla="val 13580"/>
              </a:avLst>
            </a:prstGeom>
            <a:solidFill>
              <a:srgbClr val="262626"/>
            </a:solidFill>
            <a:ln w="88900">
              <a:noFill/>
            </a:ln>
            <a:effectLst/>
            <a:scene3d>
              <a:camera prst="perspectiveFront"/>
              <a:lightRig rig="threePt" dir="t"/>
            </a:scene3d>
            <a:sp3d prstMaterial="plastic">
              <a:bevelT w="127000" h="50800"/>
              <a:bevelB w="127000" h="254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>
                <a:solidFill>
                  <a:prstClr val="white"/>
                </a:solidFill>
              </a:endParaRPr>
            </a:p>
          </p:txBody>
        </p:sp>
        <p:sp>
          <p:nvSpPr>
            <p:cNvPr id="7" name="Rectangle 8"/>
            <p:cNvSpPr/>
            <p:nvPr userDrawn="1"/>
          </p:nvSpPr>
          <p:spPr>
            <a:xfrm>
              <a:off x="1379605" y="1651189"/>
              <a:ext cx="216676" cy="33692"/>
            </a:xfrm>
            <a:prstGeom prst="rect">
              <a:avLst/>
            </a:prstGeom>
            <a:solidFill>
              <a:srgbClr val="B0B0B0"/>
            </a:solidFill>
            <a:ln w="889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>
                <a:solidFill>
                  <a:prstClr val="white"/>
                </a:solidFill>
              </a:endParaRPr>
            </a:p>
          </p:txBody>
        </p:sp>
        <p:grpSp>
          <p:nvGrpSpPr>
            <p:cNvPr id="8" name="Group 10"/>
            <p:cNvGrpSpPr>
              <a:grpSpLocks/>
            </p:cNvGrpSpPr>
            <p:nvPr userDrawn="1"/>
          </p:nvGrpSpPr>
          <p:grpSpPr bwMode="auto">
            <a:xfrm>
              <a:off x="1407705" y="5045834"/>
              <a:ext cx="211967" cy="211967"/>
              <a:chOff x="1549420" y="5712364"/>
              <a:chExt cx="312583" cy="312583"/>
            </a:xfrm>
          </p:grpSpPr>
          <p:sp>
            <p:nvSpPr>
              <p:cNvPr id="9" name="Oval 11"/>
              <p:cNvSpPr/>
              <p:nvPr userDrawn="1"/>
            </p:nvSpPr>
            <p:spPr>
              <a:xfrm>
                <a:off x="1549420" y="5712364"/>
                <a:ext cx="312583" cy="312583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94000"/>
                      <a:lumOff val="6000"/>
                    </a:schemeClr>
                  </a:gs>
                  <a:gs pos="56000">
                    <a:schemeClr val="tx1">
                      <a:lumMod val="65000"/>
                      <a:lumOff val="35000"/>
                    </a:schemeClr>
                  </a:gs>
                  <a:gs pos="91000">
                    <a:schemeClr val="tx1">
                      <a:lumMod val="50000"/>
                      <a:lumOff val="50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0800000" scaled="1"/>
                <a:tileRect/>
              </a:gradFill>
              <a:ln w="0">
                <a:solidFill>
                  <a:srgbClr val="262626"/>
                </a:solidFill>
              </a:ln>
              <a:scene3d>
                <a:camera prst="perspectiveFront"/>
                <a:lightRig rig="threePt" dir="t"/>
              </a:scene3d>
              <a:sp3d>
                <a:bevelT w="635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ko-KR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0" name="Rounded Rectangle 12"/>
              <p:cNvSpPr/>
              <p:nvPr userDrawn="1"/>
            </p:nvSpPr>
            <p:spPr>
              <a:xfrm>
                <a:off x="1634306" y="5795057"/>
                <a:ext cx="143664" cy="146437"/>
              </a:xfrm>
              <a:prstGeom prst="roundRect">
                <a:avLst/>
              </a:prstGeom>
              <a:solidFill>
                <a:srgbClr val="737373"/>
              </a:solidFill>
              <a:ln w="6350">
                <a:solidFill>
                  <a:srgbClr val="B0B0B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ko-KR" altLang="en-US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22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42647" y="254632"/>
            <a:ext cx="8679898" cy="543185"/>
          </a:xfrm>
          <a:prstGeom prst="rect">
            <a:avLst/>
          </a:prstGeom>
        </p:spPr>
        <p:txBody>
          <a:bodyPr lIns="68546" tIns="34272" rIns="68546" bIns="34272" anchor="ctr"/>
          <a:lstStyle>
            <a:lvl1pPr marL="0" indent="0" algn="ctr">
              <a:buNone/>
              <a:defRPr sz="41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ru-RU" altLang="ko-KR"/>
              <a:t>Образец текста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idx="11"/>
          </p:nvPr>
        </p:nvSpPr>
        <p:spPr>
          <a:xfrm>
            <a:off x="3713834" y="1473878"/>
            <a:ext cx="1716345" cy="281480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</p:spTree>
    <p:extLst>
      <p:ext uri="{BB962C8B-B14F-4D97-AF65-F5344CB8AC3E}">
        <p14:creationId xmlns:p14="http://schemas.microsoft.com/office/powerpoint/2010/main" val="6111111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42647" y="254632"/>
            <a:ext cx="8679898" cy="543185"/>
          </a:xfrm>
          <a:prstGeom prst="rect">
            <a:avLst/>
          </a:prstGeom>
        </p:spPr>
        <p:txBody>
          <a:bodyPr lIns="68546" tIns="34272" rIns="68546" bIns="34272" anchor="ctr"/>
          <a:lstStyle>
            <a:lvl1pPr marL="0" indent="0" algn="ctr">
              <a:buNone/>
              <a:defRPr sz="41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ru-RU" altLang="ko-KR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20238336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00371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005544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6" tIns="34272" rIns="68546" bIns="34272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33434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2"/>
          </p:nvPr>
        </p:nvSpPr>
        <p:spPr>
          <a:xfrm>
            <a:off x="0" y="5"/>
            <a:ext cx="9144000" cy="235131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  <p:sp>
        <p:nvSpPr>
          <p:cNvPr id="5" name="Picture Placeholder 2"/>
          <p:cNvSpPr>
            <a:spLocks noGrp="1"/>
          </p:cNvSpPr>
          <p:nvPr>
            <p:ph type="pic" idx="13"/>
          </p:nvPr>
        </p:nvSpPr>
        <p:spPr>
          <a:xfrm>
            <a:off x="679217" y="1558700"/>
            <a:ext cx="1723620" cy="1566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  <p:sp>
        <p:nvSpPr>
          <p:cNvPr id="6" name="Picture Placeholder 2"/>
          <p:cNvSpPr>
            <a:spLocks noGrp="1"/>
          </p:cNvSpPr>
          <p:nvPr>
            <p:ph type="pic" idx="14"/>
          </p:nvPr>
        </p:nvSpPr>
        <p:spPr>
          <a:xfrm>
            <a:off x="4711771" y="1558700"/>
            <a:ext cx="1723620" cy="1566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idx="15"/>
          </p:nvPr>
        </p:nvSpPr>
        <p:spPr>
          <a:xfrm>
            <a:off x="2695494" y="1558700"/>
            <a:ext cx="1723620" cy="1566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  <p:sp>
        <p:nvSpPr>
          <p:cNvPr id="8" name="Picture Placeholder 2"/>
          <p:cNvSpPr>
            <a:spLocks noGrp="1"/>
          </p:cNvSpPr>
          <p:nvPr>
            <p:ph type="pic" idx="16"/>
          </p:nvPr>
        </p:nvSpPr>
        <p:spPr>
          <a:xfrm>
            <a:off x="6728048" y="1558700"/>
            <a:ext cx="1723620" cy="1566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42647" y="555080"/>
            <a:ext cx="8679898" cy="543185"/>
          </a:xfrm>
          <a:prstGeom prst="rect">
            <a:avLst/>
          </a:prstGeom>
        </p:spPr>
        <p:txBody>
          <a:bodyPr lIns="68546" tIns="34272" rIns="68546" bIns="34272" anchor="ctr"/>
          <a:lstStyle>
            <a:lvl1pPr marL="0" indent="0" algn="ctr">
              <a:buNone/>
              <a:defRPr sz="41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ru-RU" altLang="ko-KR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50011953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1520831"/>
            <a:ext cx="9144000" cy="53975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6" tIns="34272" rIns="68546" bIns="34272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3543305"/>
            <a:ext cx="9144000" cy="53975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6" tIns="34272" rIns="68546" bIns="34272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42647" y="254632"/>
            <a:ext cx="8679898" cy="543185"/>
          </a:xfrm>
          <a:prstGeom prst="rect">
            <a:avLst/>
          </a:prstGeom>
        </p:spPr>
        <p:txBody>
          <a:bodyPr lIns="68546" tIns="34272" rIns="68546" bIns="34272" anchor="ctr"/>
          <a:lstStyle>
            <a:lvl1pPr marL="0" indent="0" algn="ctr">
              <a:buNone/>
              <a:defRPr sz="41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ru-RU" altLang="ko-KR"/>
              <a:t>Образец текста</a:t>
            </a:r>
          </a:p>
        </p:txBody>
      </p:sp>
      <p:sp>
        <p:nvSpPr>
          <p:cNvPr id="4" name="Picture Placeholder 2"/>
          <p:cNvSpPr>
            <a:spLocks noGrp="1"/>
          </p:cNvSpPr>
          <p:nvPr>
            <p:ph type="pic" idx="13"/>
          </p:nvPr>
        </p:nvSpPr>
        <p:spPr>
          <a:xfrm>
            <a:off x="0" y="1620499"/>
            <a:ext cx="9144000" cy="187707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68546" tIns="34272" rIns="68546" bIns="34272" anchor="ctr"/>
          <a:lstStyle>
            <a:lvl1pPr marL="0" indent="0" algn="ctr">
              <a:buNone/>
              <a:defRPr sz="1400" baseline="0">
                <a:latin typeface="+mn-lt"/>
                <a:cs typeface="Arial" pitchFamily="34" charset="0"/>
              </a:defRPr>
            </a:lvl1pPr>
            <a:lvl2pPr marL="342728" indent="0">
              <a:buNone/>
              <a:defRPr sz="2100"/>
            </a:lvl2pPr>
            <a:lvl3pPr marL="685450" indent="0">
              <a:buNone/>
              <a:defRPr sz="1800"/>
            </a:lvl3pPr>
            <a:lvl4pPr marL="1028178" indent="0">
              <a:buNone/>
              <a:defRPr sz="1500"/>
            </a:lvl4pPr>
            <a:lvl5pPr marL="1370905" indent="0">
              <a:buNone/>
              <a:defRPr sz="1500"/>
            </a:lvl5pPr>
            <a:lvl6pPr marL="1713630" indent="0">
              <a:buNone/>
              <a:defRPr sz="1500"/>
            </a:lvl6pPr>
            <a:lvl7pPr marL="2056356" indent="0">
              <a:buNone/>
              <a:defRPr sz="1500"/>
            </a:lvl7pPr>
            <a:lvl8pPr marL="2399080" indent="0">
              <a:buNone/>
              <a:defRPr sz="1500"/>
            </a:lvl8pPr>
            <a:lvl9pPr marL="2741808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</p:spTree>
    <p:extLst>
      <p:ext uri="{BB962C8B-B14F-4D97-AF65-F5344CB8AC3E}">
        <p14:creationId xmlns:p14="http://schemas.microsoft.com/office/powerpoint/2010/main" val="372877755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그림 개체 틀 12"/>
          <p:cNvSpPr>
            <a:spLocks noGrp="1"/>
          </p:cNvSpPr>
          <p:nvPr>
            <p:ph type="pic" sz="quarter" idx="10"/>
          </p:nvPr>
        </p:nvSpPr>
        <p:spPr>
          <a:xfrm>
            <a:off x="599302" y="917494"/>
            <a:ext cx="4080821" cy="3541485"/>
          </a:xfrm>
          <a:custGeom>
            <a:avLst/>
            <a:gdLst>
              <a:gd name="connsiteX0" fmla="*/ 2090352 w 5441094"/>
              <a:gd name="connsiteY0" fmla="*/ 2977952 h 4721980"/>
              <a:gd name="connsiteX1" fmla="*/ 3101888 w 5441094"/>
              <a:gd name="connsiteY1" fmla="*/ 4721980 h 4721980"/>
              <a:gd name="connsiteX2" fmla="*/ 1078816 w 5441094"/>
              <a:gd name="connsiteY2" fmla="*/ 4721980 h 4721980"/>
              <a:gd name="connsiteX3" fmla="*/ 2191267 w 5441094"/>
              <a:gd name="connsiteY3" fmla="*/ 2940880 h 4721980"/>
              <a:gd name="connsiteX4" fmla="*/ 4155992 w 5441094"/>
              <a:gd name="connsiteY4" fmla="*/ 2940880 h 4721980"/>
              <a:gd name="connsiteX5" fmla="*/ 3173629 w 5441094"/>
              <a:gd name="connsiteY5" fmla="*/ 4634609 h 4721980"/>
              <a:gd name="connsiteX6" fmla="*/ 0 w 5441094"/>
              <a:gd name="connsiteY6" fmla="*/ 2928524 h 4721980"/>
              <a:gd name="connsiteX7" fmla="*/ 2023072 w 5441094"/>
              <a:gd name="connsiteY7" fmla="*/ 2928524 h 4721980"/>
              <a:gd name="connsiteX8" fmla="*/ 1011536 w 5441094"/>
              <a:gd name="connsiteY8" fmla="*/ 4672552 h 4721980"/>
              <a:gd name="connsiteX9" fmla="*/ 982363 w 5441094"/>
              <a:gd name="connsiteY9" fmla="*/ 1120204 h 4721980"/>
              <a:gd name="connsiteX10" fmla="*/ 1964725 w 5441094"/>
              <a:gd name="connsiteY10" fmla="*/ 2813933 h 4721980"/>
              <a:gd name="connsiteX11" fmla="*/ 0 w 5441094"/>
              <a:gd name="connsiteY11" fmla="*/ 2813933 h 4721980"/>
              <a:gd name="connsiteX12" fmla="*/ 3816180 w 5441094"/>
              <a:gd name="connsiteY12" fmla="*/ 12357 h 4721980"/>
              <a:gd name="connsiteX13" fmla="*/ 5441094 w 5441094"/>
              <a:gd name="connsiteY13" fmla="*/ 2813933 h 4721980"/>
              <a:gd name="connsiteX14" fmla="*/ 2191266 w 5441094"/>
              <a:gd name="connsiteY14" fmla="*/ 2813933 h 4721980"/>
              <a:gd name="connsiteX15" fmla="*/ 465439 w 5441094"/>
              <a:gd name="connsiteY15" fmla="*/ 0 h 4721980"/>
              <a:gd name="connsiteX16" fmla="*/ 3715267 w 5441094"/>
              <a:gd name="connsiteY16" fmla="*/ 0 h 4721980"/>
              <a:gd name="connsiteX17" fmla="*/ 2090353 w 5441094"/>
              <a:gd name="connsiteY17" fmla="*/ 2801576 h 47219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441094" h="4721980">
                <a:moveTo>
                  <a:pt x="2090352" y="2977952"/>
                </a:moveTo>
                <a:lnTo>
                  <a:pt x="3101888" y="4721980"/>
                </a:lnTo>
                <a:lnTo>
                  <a:pt x="1078816" y="4721980"/>
                </a:lnTo>
                <a:close/>
                <a:moveTo>
                  <a:pt x="2191267" y="2940880"/>
                </a:moveTo>
                <a:lnTo>
                  <a:pt x="4155992" y="2940880"/>
                </a:lnTo>
                <a:lnTo>
                  <a:pt x="3173629" y="4634609"/>
                </a:lnTo>
                <a:close/>
                <a:moveTo>
                  <a:pt x="0" y="2928524"/>
                </a:moveTo>
                <a:lnTo>
                  <a:pt x="2023072" y="2928524"/>
                </a:lnTo>
                <a:lnTo>
                  <a:pt x="1011536" y="4672552"/>
                </a:lnTo>
                <a:close/>
                <a:moveTo>
                  <a:pt x="982363" y="1120204"/>
                </a:moveTo>
                <a:lnTo>
                  <a:pt x="1964725" y="2813933"/>
                </a:lnTo>
                <a:lnTo>
                  <a:pt x="0" y="2813933"/>
                </a:lnTo>
                <a:close/>
                <a:moveTo>
                  <a:pt x="3816180" y="12357"/>
                </a:moveTo>
                <a:lnTo>
                  <a:pt x="5441094" y="2813933"/>
                </a:lnTo>
                <a:lnTo>
                  <a:pt x="2191266" y="2813933"/>
                </a:lnTo>
                <a:close/>
                <a:moveTo>
                  <a:pt x="465439" y="0"/>
                </a:moveTo>
                <a:lnTo>
                  <a:pt x="3715267" y="0"/>
                </a:lnTo>
                <a:lnTo>
                  <a:pt x="2090353" y="280157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 lIns="68546" tIns="34272" rIns="68546" bIns="34272" anchor="ctr">
            <a:noAutofit/>
          </a:bodyPr>
          <a:lstStyle>
            <a:lvl1pPr marL="0" marR="0" indent="0" algn="ctr" defTabSz="685485" rtl="0" eaLnBrk="1" fontAlgn="auto" latinLnBrk="1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/>
            </a:lvl1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</p:spTree>
    <p:extLst>
      <p:ext uri="{BB962C8B-B14F-4D97-AF65-F5344CB8AC3E}">
        <p14:creationId xmlns:p14="http://schemas.microsoft.com/office/powerpoint/2010/main" val="332703743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247900"/>
            <a:ext cx="9144000" cy="14033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6" tIns="34272" rIns="68546" bIns="34272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>
              <a:solidFill>
                <a:prstClr val="white"/>
              </a:solidFill>
            </a:endParaRPr>
          </a:p>
        </p:txBody>
      </p:sp>
      <p:grpSp>
        <p:nvGrpSpPr>
          <p:cNvPr id="5" name="Group 6"/>
          <p:cNvGrpSpPr>
            <a:grpSpLocks/>
          </p:cNvGrpSpPr>
          <p:nvPr userDrawn="1"/>
        </p:nvGrpSpPr>
        <p:grpSpPr bwMode="auto">
          <a:xfrm>
            <a:off x="3573469" y="1165225"/>
            <a:ext cx="1997075" cy="3513138"/>
            <a:chOff x="445712" y="1449040"/>
            <a:chExt cx="2113018" cy="3924176"/>
          </a:xfrm>
        </p:grpSpPr>
        <p:sp>
          <p:nvSpPr>
            <p:cNvPr id="6" name="Rounded Rectangle 7"/>
            <p:cNvSpPr/>
            <p:nvPr userDrawn="1"/>
          </p:nvSpPr>
          <p:spPr>
            <a:xfrm>
              <a:off x="445712" y="1449040"/>
              <a:ext cx="2113018" cy="3924176"/>
            </a:xfrm>
            <a:prstGeom prst="roundRect">
              <a:avLst>
                <a:gd name="adj" fmla="val 13580"/>
              </a:avLst>
            </a:prstGeom>
            <a:solidFill>
              <a:srgbClr val="262626"/>
            </a:solidFill>
            <a:ln w="88900">
              <a:noFill/>
            </a:ln>
            <a:effectLst/>
            <a:scene3d>
              <a:camera prst="perspectiveFront"/>
              <a:lightRig rig="threePt" dir="t"/>
            </a:scene3d>
            <a:sp3d prstMaterial="plastic">
              <a:bevelT w="127000" h="50800"/>
              <a:bevelB w="127000" h="254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>
                <a:solidFill>
                  <a:prstClr val="white"/>
                </a:solidFill>
              </a:endParaRPr>
            </a:p>
          </p:txBody>
        </p:sp>
        <p:sp>
          <p:nvSpPr>
            <p:cNvPr id="7" name="Rectangle 8"/>
            <p:cNvSpPr/>
            <p:nvPr userDrawn="1"/>
          </p:nvSpPr>
          <p:spPr>
            <a:xfrm>
              <a:off x="1379605" y="1651189"/>
              <a:ext cx="216676" cy="33692"/>
            </a:xfrm>
            <a:prstGeom prst="rect">
              <a:avLst/>
            </a:prstGeom>
            <a:solidFill>
              <a:srgbClr val="B0B0B0"/>
            </a:solidFill>
            <a:ln w="889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>
                <a:solidFill>
                  <a:prstClr val="white"/>
                </a:solidFill>
              </a:endParaRPr>
            </a:p>
          </p:txBody>
        </p:sp>
        <p:grpSp>
          <p:nvGrpSpPr>
            <p:cNvPr id="8" name="Group 10"/>
            <p:cNvGrpSpPr>
              <a:grpSpLocks/>
            </p:cNvGrpSpPr>
            <p:nvPr userDrawn="1"/>
          </p:nvGrpSpPr>
          <p:grpSpPr bwMode="auto">
            <a:xfrm>
              <a:off x="1407705" y="5045834"/>
              <a:ext cx="211967" cy="211967"/>
              <a:chOff x="1549420" y="5712364"/>
              <a:chExt cx="312583" cy="312583"/>
            </a:xfrm>
          </p:grpSpPr>
          <p:sp>
            <p:nvSpPr>
              <p:cNvPr id="9" name="Oval 11"/>
              <p:cNvSpPr/>
              <p:nvPr userDrawn="1"/>
            </p:nvSpPr>
            <p:spPr>
              <a:xfrm>
                <a:off x="1549420" y="5712364"/>
                <a:ext cx="312583" cy="312583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94000"/>
                      <a:lumOff val="6000"/>
                    </a:schemeClr>
                  </a:gs>
                  <a:gs pos="56000">
                    <a:schemeClr val="tx1">
                      <a:lumMod val="65000"/>
                      <a:lumOff val="35000"/>
                    </a:schemeClr>
                  </a:gs>
                  <a:gs pos="91000">
                    <a:schemeClr val="tx1">
                      <a:lumMod val="50000"/>
                      <a:lumOff val="50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0800000" scaled="1"/>
                <a:tileRect/>
              </a:gradFill>
              <a:ln w="0">
                <a:solidFill>
                  <a:srgbClr val="262626"/>
                </a:solidFill>
              </a:ln>
              <a:scene3d>
                <a:camera prst="perspectiveFront"/>
                <a:lightRig rig="threePt" dir="t"/>
              </a:scene3d>
              <a:sp3d>
                <a:bevelT w="635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ko-KR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0" name="Rounded Rectangle 12"/>
              <p:cNvSpPr/>
              <p:nvPr userDrawn="1"/>
            </p:nvSpPr>
            <p:spPr>
              <a:xfrm>
                <a:off x="1634306" y="5795057"/>
                <a:ext cx="143664" cy="146437"/>
              </a:xfrm>
              <a:prstGeom prst="roundRect">
                <a:avLst/>
              </a:prstGeom>
              <a:solidFill>
                <a:srgbClr val="737373"/>
              </a:solidFill>
              <a:ln w="6350">
                <a:solidFill>
                  <a:srgbClr val="B0B0B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ko-KR" altLang="en-US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22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42647" y="254632"/>
            <a:ext cx="8679898" cy="543185"/>
          </a:xfrm>
          <a:prstGeom prst="rect">
            <a:avLst/>
          </a:prstGeom>
        </p:spPr>
        <p:txBody>
          <a:bodyPr lIns="68546" tIns="34272" rIns="68546" bIns="34272" anchor="ctr"/>
          <a:lstStyle>
            <a:lvl1pPr marL="0" indent="0" algn="ctr">
              <a:buNone/>
              <a:defRPr sz="41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ru-RU" altLang="ko-KR"/>
              <a:t>Образец текста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idx="11"/>
          </p:nvPr>
        </p:nvSpPr>
        <p:spPr>
          <a:xfrm>
            <a:off x="3713834" y="1473878"/>
            <a:ext cx="1716345" cy="281480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</p:spTree>
    <p:extLst>
      <p:ext uri="{BB962C8B-B14F-4D97-AF65-F5344CB8AC3E}">
        <p14:creationId xmlns:p14="http://schemas.microsoft.com/office/powerpoint/2010/main" val="298820281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42647" y="254632"/>
            <a:ext cx="8679898" cy="543185"/>
          </a:xfrm>
          <a:prstGeom prst="rect">
            <a:avLst/>
          </a:prstGeom>
        </p:spPr>
        <p:txBody>
          <a:bodyPr lIns="68546" tIns="34272" rIns="68546" bIns="34272" anchor="ctr"/>
          <a:lstStyle>
            <a:lvl1pPr marL="0" indent="0" algn="ctr">
              <a:buNone/>
              <a:defRPr sz="41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ru-RU" altLang="ko-KR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0722037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6" tIns="34272" rIns="68546" bIns="34272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2902674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42647" y="254632"/>
            <a:ext cx="8679898" cy="543185"/>
          </a:xfrm>
          <a:prstGeom prst="rect">
            <a:avLst/>
          </a:prstGeom>
        </p:spPr>
        <p:txBody>
          <a:bodyPr lIns="68546" tIns="34272" rIns="68546" bIns="34272" anchor="ctr"/>
          <a:lstStyle>
            <a:lvl1pPr marL="0" indent="0" algn="ctr">
              <a:buNone/>
              <a:defRPr sz="41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ru-RU" altLang="ko-KR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29384857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8113839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7906683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05365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009504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7328523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204906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803832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6" tIns="34272" rIns="68546" bIns="34272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990629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2"/>
          </p:nvPr>
        </p:nvSpPr>
        <p:spPr>
          <a:xfrm>
            <a:off x="0" y="5"/>
            <a:ext cx="9144000" cy="235131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  <p:sp>
        <p:nvSpPr>
          <p:cNvPr id="5" name="Picture Placeholder 2"/>
          <p:cNvSpPr>
            <a:spLocks noGrp="1"/>
          </p:cNvSpPr>
          <p:nvPr>
            <p:ph type="pic" idx="13"/>
          </p:nvPr>
        </p:nvSpPr>
        <p:spPr>
          <a:xfrm>
            <a:off x="679217" y="1558700"/>
            <a:ext cx="1723620" cy="1566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  <p:sp>
        <p:nvSpPr>
          <p:cNvPr id="6" name="Picture Placeholder 2"/>
          <p:cNvSpPr>
            <a:spLocks noGrp="1"/>
          </p:cNvSpPr>
          <p:nvPr>
            <p:ph type="pic" idx="14"/>
          </p:nvPr>
        </p:nvSpPr>
        <p:spPr>
          <a:xfrm>
            <a:off x="4711771" y="1558700"/>
            <a:ext cx="1723620" cy="1566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idx="15"/>
          </p:nvPr>
        </p:nvSpPr>
        <p:spPr>
          <a:xfrm>
            <a:off x="2695494" y="1558700"/>
            <a:ext cx="1723620" cy="1566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  <p:sp>
        <p:nvSpPr>
          <p:cNvPr id="8" name="Picture Placeholder 2"/>
          <p:cNvSpPr>
            <a:spLocks noGrp="1"/>
          </p:cNvSpPr>
          <p:nvPr>
            <p:ph type="pic" idx="16"/>
          </p:nvPr>
        </p:nvSpPr>
        <p:spPr>
          <a:xfrm>
            <a:off x="6728048" y="1558700"/>
            <a:ext cx="1723620" cy="1566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42647" y="555080"/>
            <a:ext cx="8679898" cy="543185"/>
          </a:xfrm>
          <a:prstGeom prst="rect">
            <a:avLst/>
          </a:prstGeom>
        </p:spPr>
        <p:txBody>
          <a:bodyPr lIns="68546" tIns="34272" rIns="68546" bIns="34272" anchor="ctr"/>
          <a:lstStyle>
            <a:lvl1pPr marL="0" indent="0" algn="ctr">
              <a:buNone/>
              <a:defRPr sz="41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ru-RU" altLang="ko-KR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1550831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2"/>
          </p:nvPr>
        </p:nvSpPr>
        <p:spPr>
          <a:xfrm>
            <a:off x="0" y="5"/>
            <a:ext cx="9144000" cy="235131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  <p:sp>
        <p:nvSpPr>
          <p:cNvPr id="5" name="Picture Placeholder 2"/>
          <p:cNvSpPr>
            <a:spLocks noGrp="1"/>
          </p:cNvSpPr>
          <p:nvPr>
            <p:ph type="pic" idx="13"/>
          </p:nvPr>
        </p:nvSpPr>
        <p:spPr>
          <a:xfrm>
            <a:off x="679217" y="1558700"/>
            <a:ext cx="1723620" cy="1566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  <p:sp>
        <p:nvSpPr>
          <p:cNvPr id="6" name="Picture Placeholder 2"/>
          <p:cNvSpPr>
            <a:spLocks noGrp="1"/>
          </p:cNvSpPr>
          <p:nvPr>
            <p:ph type="pic" idx="14"/>
          </p:nvPr>
        </p:nvSpPr>
        <p:spPr>
          <a:xfrm>
            <a:off x="4711771" y="1558700"/>
            <a:ext cx="1723620" cy="1566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idx="15"/>
          </p:nvPr>
        </p:nvSpPr>
        <p:spPr>
          <a:xfrm>
            <a:off x="2695494" y="1558700"/>
            <a:ext cx="1723620" cy="1566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  <p:sp>
        <p:nvSpPr>
          <p:cNvPr id="8" name="Picture Placeholder 2"/>
          <p:cNvSpPr>
            <a:spLocks noGrp="1"/>
          </p:cNvSpPr>
          <p:nvPr>
            <p:ph type="pic" idx="16"/>
          </p:nvPr>
        </p:nvSpPr>
        <p:spPr>
          <a:xfrm>
            <a:off x="6728048" y="1558700"/>
            <a:ext cx="1723620" cy="1566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42647" y="555080"/>
            <a:ext cx="8679898" cy="543185"/>
          </a:xfrm>
          <a:prstGeom prst="rect">
            <a:avLst/>
          </a:prstGeom>
        </p:spPr>
        <p:txBody>
          <a:bodyPr lIns="68546" tIns="34272" rIns="68546" bIns="34272" anchor="ctr"/>
          <a:lstStyle>
            <a:lvl1pPr marL="0" indent="0" algn="ctr">
              <a:buNone/>
              <a:defRPr sz="41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ru-RU" altLang="ko-KR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1412049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1520831"/>
            <a:ext cx="9144000" cy="53975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6" tIns="34272" rIns="68546" bIns="34272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3543305"/>
            <a:ext cx="9144000" cy="53975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6" tIns="34272" rIns="68546" bIns="34272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42647" y="254632"/>
            <a:ext cx="8679898" cy="543185"/>
          </a:xfrm>
          <a:prstGeom prst="rect">
            <a:avLst/>
          </a:prstGeom>
        </p:spPr>
        <p:txBody>
          <a:bodyPr lIns="68546" tIns="34272" rIns="68546" bIns="34272" anchor="ctr"/>
          <a:lstStyle>
            <a:lvl1pPr marL="0" indent="0" algn="ctr">
              <a:buNone/>
              <a:defRPr sz="41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ru-RU" altLang="ko-KR"/>
              <a:t>Образец текста</a:t>
            </a:r>
          </a:p>
        </p:txBody>
      </p:sp>
      <p:sp>
        <p:nvSpPr>
          <p:cNvPr id="4" name="Picture Placeholder 2"/>
          <p:cNvSpPr>
            <a:spLocks noGrp="1"/>
          </p:cNvSpPr>
          <p:nvPr>
            <p:ph type="pic" idx="13"/>
          </p:nvPr>
        </p:nvSpPr>
        <p:spPr>
          <a:xfrm>
            <a:off x="0" y="1620499"/>
            <a:ext cx="9144000" cy="187707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68546" tIns="34272" rIns="68546" bIns="34272" anchor="ctr"/>
          <a:lstStyle>
            <a:lvl1pPr marL="0" indent="0" algn="ctr">
              <a:buNone/>
              <a:defRPr sz="1400" baseline="0">
                <a:latin typeface="+mn-lt"/>
                <a:cs typeface="Arial" pitchFamily="34" charset="0"/>
              </a:defRPr>
            </a:lvl1pPr>
            <a:lvl2pPr marL="342728" indent="0">
              <a:buNone/>
              <a:defRPr sz="2100"/>
            </a:lvl2pPr>
            <a:lvl3pPr marL="685450" indent="0">
              <a:buNone/>
              <a:defRPr sz="1800"/>
            </a:lvl3pPr>
            <a:lvl4pPr marL="1028178" indent="0">
              <a:buNone/>
              <a:defRPr sz="1500"/>
            </a:lvl4pPr>
            <a:lvl5pPr marL="1370905" indent="0">
              <a:buNone/>
              <a:defRPr sz="1500"/>
            </a:lvl5pPr>
            <a:lvl6pPr marL="1713630" indent="0">
              <a:buNone/>
              <a:defRPr sz="1500"/>
            </a:lvl6pPr>
            <a:lvl7pPr marL="2056356" indent="0">
              <a:buNone/>
              <a:defRPr sz="1500"/>
            </a:lvl7pPr>
            <a:lvl8pPr marL="2399080" indent="0">
              <a:buNone/>
              <a:defRPr sz="1500"/>
            </a:lvl8pPr>
            <a:lvl9pPr marL="2741808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</p:spTree>
    <p:extLst>
      <p:ext uri="{BB962C8B-B14F-4D97-AF65-F5344CB8AC3E}">
        <p14:creationId xmlns:p14="http://schemas.microsoft.com/office/powerpoint/2010/main" val="420954637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그림 개체 틀 12"/>
          <p:cNvSpPr>
            <a:spLocks noGrp="1"/>
          </p:cNvSpPr>
          <p:nvPr>
            <p:ph type="pic" sz="quarter" idx="10"/>
          </p:nvPr>
        </p:nvSpPr>
        <p:spPr>
          <a:xfrm>
            <a:off x="599302" y="917494"/>
            <a:ext cx="4080821" cy="3541485"/>
          </a:xfrm>
          <a:custGeom>
            <a:avLst/>
            <a:gdLst>
              <a:gd name="connsiteX0" fmla="*/ 2090352 w 5441094"/>
              <a:gd name="connsiteY0" fmla="*/ 2977952 h 4721980"/>
              <a:gd name="connsiteX1" fmla="*/ 3101888 w 5441094"/>
              <a:gd name="connsiteY1" fmla="*/ 4721980 h 4721980"/>
              <a:gd name="connsiteX2" fmla="*/ 1078816 w 5441094"/>
              <a:gd name="connsiteY2" fmla="*/ 4721980 h 4721980"/>
              <a:gd name="connsiteX3" fmla="*/ 2191267 w 5441094"/>
              <a:gd name="connsiteY3" fmla="*/ 2940880 h 4721980"/>
              <a:gd name="connsiteX4" fmla="*/ 4155992 w 5441094"/>
              <a:gd name="connsiteY4" fmla="*/ 2940880 h 4721980"/>
              <a:gd name="connsiteX5" fmla="*/ 3173629 w 5441094"/>
              <a:gd name="connsiteY5" fmla="*/ 4634609 h 4721980"/>
              <a:gd name="connsiteX6" fmla="*/ 0 w 5441094"/>
              <a:gd name="connsiteY6" fmla="*/ 2928524 h 4721980"/>
              <a:gd name="connsiteX7" fmla="*/ 2023072 w 5441094"/>
              <a:gd name="connsiteY7" fmla="*/ 2928524 h 4721980"/>
              <a:gd name="connsiteX8" fmla="*/ 1011536 w 5441094"/>
              <a:gd name="connsiteY8" fmla="*/ 4672552 h 4721980"/>
              <a:gd name="connsiteX9" fmla="*/ 982363 w 5441094"/>
              <a:gd name="connsiteY9" fmla="*/ 1120204 h 4721980"/>
              <a:gd name="connsiteX10" fmla="*/ 1964725 w 5441094"/>
              <a:gd name="connsiteY10" fmla="*/ 2813933 h 4721980"/>
              <a:gd name="connsiteX11" fmla="*/ 0 w 5441094"/>
              <a:gd name="connsiteY11" fmla="*/ 2813933 h 4721980"/>
              <a:gd name="connsiteX12" fmla="*/ 3816180 w 5441094"/>
              <a:gd name="connsiteY12" fmla="*/ 12357 h 4721980"/>
              <a:gd name="connsiteX13" fmla="*/ 5441094 w 5441094"/>
              <a:gd name="connsiteY13" fmla="*/ 2813933 h 4721980"/>
              <a:gd name="connsiteX14" fmla="*/ 2191266 w 5441094"/>
              <a:gd name="connsiteY14" fmla="*/ 2813933 h 4721980"/>
              <a:gd name="connsiteX15" fmla="*/ 465439 w 5441094"/>
              <a:gd name="connsiteY15" fmla="*/ 0 h 4721980"/>
              <a:gd name="connsiteX16" fmla="*/ 3715267 w 5441094"/>
              <a:gd name="connsiteY16" fmla="*/ 0 h 4721980"/>
              <a:gd name="connsiteX17" fmla="*/ 2090353 w 5441094"/>
              <a:gd name="connsiteY17" fmla="*/ 2801576 h 47219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441094" h="4721980">
                <a:moveTo>
                  <a:pt x="2090352" y="2977952"/>
                </a:moveTo>
                <a:lnTo>
                  <a:pt x="3101888" y="4721980"/>
                </a:lnTo>
                <a:lnTo>
                  <a:pt x="1078816" y="4721980"/>
                </a:lnTo>
                <a:close/>
                <a:moveTo>
                  <a:pt x="2191267" y="2940880"/>
                </a:moveTo>
                <a:lnTo>
                  <a:pt x="4155992" y="2940880"/>
                </a:lnTo>
                <a:lnTo>
                  <a:pt x="3173629" y="4634609"/>
                </a:lnTo>
                <a:close/>
                <a:moveTo>
                  <a:pt x="0" y="2928524"/>
                </a:moveTo>
                <a:lnTo>
                  <a:pt x="2023072" y="2928524"/>
                </a:lnTo>
                <a:lnTo>
                  <a:pt x="1011536" y="4672552"/>
                </a:lnTo>
                <a:close/>
                <a:moveTo>
                  <a:pt x="982363" y="1120204"/>
                </a:moveTo>
                <a:lnTo>
                  <a:pt x="1964725" y="2813933"/>
                </a:lnTo>
                <a:lnTo>
                  <a:pt x="0" y="2813933"/>
                </a:lnTo>
                <a:close/>
                <a:moveTo>
                  <a:pt x="3816180" y="12357"/>
                </a:moveTo>
                <a:lnTo>
                  <a:pt x="5441094" y="2813933"/>
                </a:lnTo>
                <a:lnTo>
                  <a:pt x="2191266" y="2813933"/>
                </a:lnTo>
                <a:close/>
                <a:moveTo>
                  <a:pt x="465439" y="0"/>
                </a:moveTo>
                <a:lnTo>
                  <a:pt x="3715267" y="0"/>
                </a:lnTo>
                <a:lnTo>
                  <a:pt x="2090353" y="280157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 lIns="68546" tIns="34272" rIns="68546" bIns="34272" anchor="ctr">
            <a:noAutofit/>
          </a:bodyPr>
          <a:lstStyle>
            <a:lvl1pPr marL="0" marR="0" indent="0" algn="ctr" defTabSz="685485" rtl="0" eaLnBrk="1" fontAlgn="auto" latinLnBrk="1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/>
            </a:lvl1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</p:spTree>
    <p:extLst>
      <p:ext uri="{BB962C8B-B14F-4D97-AF65-F5344CB8AC3E}">
        <p14:creationId xmlns:p14="http://schemas.microsoft.com/office/powerpoint/2010/main" val="52102803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247900"/>
            <a:ext cx="9144000" cy="14033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6" tIns="34272" rIns="68546" bIns="34272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>
              <a:solidFill>
                <a:prstClr val="white"/>
              </a:solidFill>
            </a:endParaRPr>
          </a:p>
        </p:txBody>
      </p:sp>
      <p:grpSp>
        <p:nvGrpSpPr>
          <p:cNvPr id="5" name="Group 6"/>
          <p:cNvGrpSpPr>
            <a:grpSpLocks/>
          </p:cNvGrpSpPr>
          <p:nvPr userDrawn="1"/>
        </p:nvGrpSpPr>
        <p:grpSpPr bwMode="auto">
          <a:xfrm>
            <a:off x="3573469" y="1165225"/>
            <a:ext cx="1997075" cy="3513138"/>
            <a:chOff x="445712" y="1449040"/>
            <a:chExt cx="2113018" cy="3924176"/>
          </a:xfrm>
        </p:grpSpPr>
        <p:sp>
          <p:nvSpPr>
            <p:cNvPr id="6" name="Rounded Rectangle 7"/>
            <p:cNvSpPr/>
            <p:nvPr userDrawn="1"/>
          </p:nvSpPr>
          <p:spPr>
            <a:xfrm>
              <a:off x="445712" y="1449040"/>
              <a:ext cx="2113018" cy="3924176"/>
            </a:xfrm>
            <a:prstGeom prst="roundRect">
              <a:avLst>
                <a:gd name="adj" fmla="val 13580"/>
              </a:avLst>
            </a:prstGeom>
            <a:solidFill>
              <a:srgbClr val="262626"/>
            </a:solidFill>
            <a:ln w="88900">
              <a:noFill/>
            </a:ln>
            <a:effectLst/>
            <a:scene3d>
              <a:camera prst="perspectiveFront"/>
              <a:lightRig rig="threePt" dir="t"/>
            </a:scene3d>
            <a:sp3d prstMaterial="plastic">
              <a:bevelT w="127000" h="50800"/>
              <a:bevelB w="127000" h="254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>
                <a:solidFill>
                  <a:prstClr val="white"/>
                </a:solidFill>
              </a:endParaRPr>
            </a:p>
          </p:txBody>
        </p:sp>
        <p:sp>
          <p:nvSpPr>
            <p:cNvPr id="7" name="Rectangle 8"/>
            <p:cNvSpPr/>
            <p:nvPr userDrawn="1"/>
          </p:nvSpPr>
          <p:spPr>
            <a:xfrm>
              <a:off x="1379605" y="1651189"/>
              <a:ext cx="216676" cy="33692"/>
            </a:xfrm>
            <a:prstGeom prst="rect">
              <a:avLst/>
            </a:prstGeom>
            <a:solidFill>
              <a:srgbClr val="B0B0B0"/>
            </a:solidFill>
            <a:ln w="889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>
                <a:solidFill>
                  <a:prstClr val="white"/>
                </a:solidFill>
              </a:endParaRPr>
            </a:p>
          </p:txBody>
        </p:sp>
        <p:grpSp>
          <p:nvGrpSpPr>
            <p:cNvPr id="8" name="Group 10"/>
            <p:cNvGrpSpPr>
              <a:grpSpLocks/>
            </p:cNvGrpSpPr>
            <p:nvPr userDrawn="1"/>
          </p:nvGrpSpPr>
          <p:grpSpPr bwMode="auto">
            <a:xfrm>
              <a:off x="1407705" y="5045834"/>
              <a:ext cx="211967" cy="211967"/>
              <a:chOff x="1549420" y="5712364"/>
              <a:chExt cx="312583" cy="312583"/>
            </a:xfrm>
          </p:grpSpPr>
          <p:sp>
            <p:nvSpPr>
              <p:cNvPr id="9" name="Oval 11"/>
              <p:cNvSpPr/>
              <p:nvPr userDrawn="1"/>
            </p:nvSpPr>
            <p:spPr>
              <a:xfrm>
                <a:off x="1549420" y="5712364"/>
                <a:ext cx="312583" cy="312583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94000"/>
                      <a:lumOff val="6000"/>
                    </a:schemeClr>
                  </a:gs>
                  <a:gs pos="56000">
                    <a:schemeClr val="tx1">
                      <a:lumMod val="65000"/>
                      <a:lumOff val="35000"/>
                    </a:schemeClr>
                  </a:gs>
                  <a:gs pos="91000">
                    <a:schemeClr val="tx1">
                      <a:lumMod val="50000"/>
                      <a:lumOff val="50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0800000" scaled="1"/>
                <a:tileRect/>
              </a:gradFill>
              <a:ln w="0">
                <a:solidFill>
                  <a:srgbClr val="262626"/>
                </a:solidFill>
              </a:ln>
              <a:scene3d>
                <a:camera prst="perspectiveFront"/>
                <a:lightRig rig="threePt" dir="t"/>
              </a:scene3d>
              <a:sp3d>
                <a:bevelT w="635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ko-KR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0" name="Rounded Rectangle 12"/>
              <p:cNvSpPr/>
              <p:nvPr userDrawn="1"/>
            </p:nvSpPr>
            <p:spPr>
              <a:xfrm>
                <a:off x="1634306" y="5795057"/>
                <a:ext cx="143664" cy="146437"/>
              </a:xfrm>
              <a:prstGeom prst="roundRect">
                <a:avLst/>
              </a:prstGeom>
              <a:solidFill>
                <a:srgbClr val="737373"/>
              </a:solidFill>
              <a:ln w="6350">
                <a:solidFill>
                  <a:srgbClr val="B0B0B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ko-KR" altLang="en-US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22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42647" y="254632"/>
            <a:ext cx="8679898" cy="543185"/>
          </a:xfrm>
          <a:prstGeom prst="rect">
            <a:avLst/>
          </a:prstGeom>
        </p:spPr>
        <p:txBody>
          <a:bodyPr lIns="68546" tIns="34272" rIns="68546" bIns="34272" anchor="ctr"/>
          <a:lstStyle>
            <a:lvl1pPr marL="0" indent="0" algn="ctr">
              <a:buNone/>
              <a:defRPr sz="41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ru-RU" altLang="ko-KR"/>
              <a:t>Образец текста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idx="11"/>
          </p:nvPr>
        </p:nvSpPr>
        <p:spPr>
          <a:xfrm>
            <a:off x="3713834" y="1473878"/>
            <a:ext cx="1716345" cy="281480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</p:spTree>
    <p:extLst>
      <p:ext uri="{BB962C8B-B14F-4D97-AF65-F5344CB8AC3E}">
        <p14:creationId xmlns:p14="http://schemas.microsoft.com/office/powerpoint/2010/main" val="317258199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42647" y="254632"/>
            <a:ext cx="8679898" cy="543185"/>
          </a:xfrm>
          <a:prstGeom prst="rect">
            <a:avLst/>
          </a:prstGeom>
        </p:spPr>
        <p:txBody>
          <a:bodyPr lIns="68546" tIns="34272" rIns="68546" bIns="34272" anchor="ctr"/>
          <a:lstStyle>
            <a:lvl1pPr marL="0" indent="0" algn="ctr">
              <a:buNone/>
              <a:defRPr sz="41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ru-RU" altLang="ko-KR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55566816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9522358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164405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6" tIns="34272" rIns="68546" bIns="34272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242211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2"/>
          </p:nvPr>
        </p:nvSpPr>
        <p:spPr>
          <a:xfrm>
            <a:off x="0" y="5"/>
            <a:ext cx="9144000" cy="235131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  <p:sp>
        <p:nvSpPr>
          <p:cNvPr id="5" name="Picture Placeholder 2"/>
          <p:cNvSpPr>
            <a:spLocks noGrp="1"/>
          </p:cNvSpPr>
          <p:nvPr>
            <p:ph type="pic" idx="13"/>
          </p:nvPr>
        </p:nvSpPr>
        <p:spPr>
          <a:xfrm>
            <a:off x="679217" y="1558700"/>
            <a:ext cx="1723620" cy="1566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  <p:sp>
        <p:nvSpPr>
          <p:cNvPr id="6" name="Picture Placeholder 2"/>
          <p:cNvSpPr>
            <a:spLocks noGrp="1"/>
          </p:cNvSpPr>
          <p:nvPr>
            <p:ph type="pic" idx="14"/>
          </p:nvPr>
        </p:nvSpPr>
        <p:spPr>
          <a:xfrm>
            <a:off x="4711771" y="1558700"/>
            <a:ext cx="1723620" cy="1566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idx="15"/>
          </p:nvPr>
        </p:nvSpPr>
        <p:spPr>
          <a:xfrm>
            <a:off x="2695494" y="1558700"/>
            <a:ext cx="1723620" cy="1566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  <p:sp>
        <p:nvSpPr>
          <p:cNvPr id="8" name="Picture Placeholder 2"/>
          <p:cNvSpPr>
            <a:spLocks noGrp="1"/>
          </p:cNvSpPr>
          <p:nvPr>
            <p:ph type="pic" idx="16"/>
          </p:nvPr>
        </p:nvSpPr>
        <p:spPr>
          <a:xfrm>
            <a:off x="6728048" y="1558700"/>
            <a:ext cx="1723620" cy="1566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42647" y="555080"/>
            <a:ext cx="8679898" cy="543185"/>
          </a:xfrm>
          <a:prstGeom prst="rect">
            <a:avLst/>
          </a:prstGeom>
        </p:spPr>
        <p:txBody>
          <a:bodyPr lIns="68546" tIns="34272" rIns="68546" bIns="34272" anchor="ctr"/>
          <a:lstStyle>
            <a:lvl1pPr marL="0" indent="0" algn="ctr">
              <a:buNone/>
              <a:defRPr sz="41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ru-RU" altLang="ko-KR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84232236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1520831"/>
            <a:ext cx="9144000" cy="53975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6" tIns="34272" rIns="68546" bIns="34272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3543305"/>
            <a:ext cx="9144000" cy="53975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6" tIns="34272" rIns="68546" bIns="34272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42647" y="254632"/>
            <a:ext cx="8679898" cy="543185"/>
          </a:xfrm>
          <a:prstGeom prst="rect">
            <a:avLst/>
          </a:prstGeom>
        </p:spPr>
        <p:txBody>
          <a:bodyPr lIns="68546" tIns="34272" rIns="68546" bIns="34272" anchor="ctr"/>
          <a:lstStyle>
            <a:lvl1pPr marL="0" indent="0" algn="ctr">
              <a:buNone/>
              <a:defRPr sz="41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ru-RU" altLang="ko-KR"/>
              <a:t>Образец текста</a:t>
            </a:r>
          </a:p>
        </p:txBody>
      </p:sp>
      <p:sp>
        <p:nvSpPr>
          <p:cNvPr id="4" name="Picture Placeholder 2"/>
          <p:cNvSpPr>
            <a:spLocks noGrp="1"/>
          </p:cNvSpPr>
          <p:nvPr>
            <p:ph type="pic" idx="13"/>
          </p:nvPr>
        </p:nvSpPr>
        <p:spPr>
          <a:xfrm>
            <a:off x="0" y="1620499"/>
            <a:ext cx="9144000" cy="187707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68546" tIns="34272" rIns="68546" bIns="34272" anchor="ctr"/>
          <a:lstStyle>
            <a:lvl1pPr marL="0" indent="0" algn="ctr">
              <a:buNone/>
              <a:defRPr sz="1400" baseline="0">
                <a:latin typeface="+mn-lt"/>
                <a:cs typeface="Arial" pitchFamily="34" charset="0"/>
              </a:defRPr>
            </a:lvl1pPr>
            <a:lvl2pPr marL="342728" indent="0">
              <a:buNone/>
              <a:defRPr sz="2100"/>
            </a:lvl2pPr>
            <a:lvl3pPr marL="685450" indent="0">
              <a:buNone/>
              <a:defRPr sz="1800"/>
            </a:lvl3pPr>
            <a:lvl4pPr marL="1028178" indent="0">
              <a:buNone/>
              <a:defRPr sz="1500"/>
            </a:lvl4pPr>
            <a:lvl5pPr marL="1370905" indent="0">
              <a:buNone/>
              <a:defRPr sz="1500"/>
            </a:lvl5pPr>
            <a:lvl6pPr marL="1713630" indent="0">
              <a:buNone/>
              <a:defRPr sz="1500"/>
            </a:lvl6pPr>
            <a:lvl7pPr marL="2056356" indent="0">
              <a:buNone/>
              <a:defRPr sz="1500"/>
            </a:lvl7pPr>
            <a:lvl8pPr marL="2399080" indent="0">
              <a:buNone/>
              <a:defRPr sz="1500"/>
            </a:lvl8pPr>
            <a:lvl9pPr marL="2741808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</p:spTree>
    <p:extLst>
      <p:ext uri="{BB962C8B-B14F-4D97-AF65-F5344CB8AC3E}">
        <p14:creationId xmlns:p14="http://schemas.microsoft.com/office/powerpoint/2010/main" val="257027667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그림 개체 틀 12"/>
          <p:cNvSpPr>
            <a:spLocks noGrp="1"/>
          </p:cNvSpPr>
          <p:nvPr>
            <p:ph type="pic" sz="quarter" idx="10"/>
          </p:nvPr>
        </p:nvSpPr>
        <p:spPr>
          <a:xfrm>
            <a:off x="599302" y="917494"/>
            <a:ext cx="4080821" cy="3541485"/>
          </a:xfrm>
          <a:custGeom>
            <a:avLst/>
            <a:gdLst>
              <a:gd name="connsiteX0" fmla="*/ 2090352 w 5441094"/>
              <a:gd name="connsiteY0" fmla="*/ 2977952 h 4721980"/>
              <a:gd name="connsiteX1" fmla="*/ 3101888 w 5441094"/>
              <a:gd name="connsiteY1" fmla="*/ 4721980 h 4721980"/>
              <a:gd name="connsiteX2" fmla="*/ 1078816 w 5441094"/>
              <a:gd name="connsiteY2" fmla="*/ 4721980 h 4721980"/>
              <a:gd name="connsiteX3" fmla="*/ 2191267 w 5441094"/>
              <a:gd name="connsiteY3" fmla="*/ 2940880 h 4721980"/>
              <a:gd name="connsiteX4" fmla="*/ 4155992 w 5441094"/>
              <a:gd name="connsiteY4" fmla="*/ 2940880 h 4721980"/>
              <a:gd name="connsiteX5" fmla="*/ 3173629 w 5441094"/>
              <a:gd name="connsiteY5" fmla="*/ 4634609 h 4721980"/>
              <a:gd name="connsiteX6" fmla="*/ 0 w 5441094"/>
              <a:gd name="connsiteY6" fmla="*/ 2928524 h 4721980"/>
              <a:gd name="connsiteX7" fmla="*/ 2023072 w 5441094"/>
              <a:gd name="connsiteY7" fmla="*/ 2928524 h 4721980"/>
              <a:gd name="connsiteX8" fmla="*/ 1011536 w 5441094"/>
              <a:gd name="connsiteY8" fmla="*/ 4672552 h 4721980"/>
              <a:gd name="connsiteX9" fmla="*/ 982363 w 5441094"/>
              <a:gd name="connsiteY9" fmla="*/ 1120204 h 4721980"/>
              <a:gd name="connsiteX10" fmla="*/ 1964725 w 5441094"/>
              <a:gd name="connsiteY10" fmla="*/ 2813933 h 4721980"/>
              <a:gd name="connsiteX11" fmla="*/ 0 w 5441094"/>
              <a:gd name="connsiteY11" fmla="*/ 2813933 h 4721980"/>
              <a:gd name="connsiteX12" fmla="*/ 3816180 w 5441094"/>
              <a:gd name="connsiteY12" fmla="*/ 12357 h 4721980"/>
              <a:gd name="connsiteX13" fmla="*/ 5441094 w 5441094"/>
              <a:gd name="connsiteY13" fmla="*/ 2813933 h 4721980"/>
              <a:gd name="connsiteX14" fmla="*/ 2191266 w 5441094"/>
              <a:gd name="connsiteY14" fmla="*/ 2813933 h 4721980"/>
              <a:gd name="connsiteX15" fmla="*/ 465439 w 5441094"/>
              <a:gd name="connsiteY15" fmla="*/ 0 h 4721980"/>
              <a:gd name="connsiteX16" fmla="*/ 3715267 w 5441094"/>
              <a:gd name="connsiteY16" fmla="*/ 0 h 4721980"/>
              <a:gd name="connsiteX17" fmla="*/ 2090353 w 5441094"/>
              <a:gd name="connsiteY17" fmla="*/ 2801576 h 47219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441094" h="4721980">
                <a:moveTo>
                  <a:pt x="2090352" y="2977952"/>
                </a:moveTo>
                <a:lnTo>
                  <a:pt x="3101888" y="4721980"/>
                </a:lnTo>
                <a:lnTo>
                  <a:pt x="1078816" y="4721980"/>
                </a:lnTo>
                <a:close/>
                <a:moveTo>
                  <a:pt x="2191267" y="2940880"/>
                </a:moveTo>
                <a:lnTo>
                  <a:pt x="4155992" y="2940880"/>
                </a:lnTo>
                <a:lnTo>
                  <a:pt x="3173629" y="4634609"/>
                </a:lnTo>
                <a:close/>
                <a:moveTo>
                  <a:pt x="0" y="2928524"/>
                </a:moveTo>
                <a:lnTo>
                  <a:pt x="2023072" y="2928524"/>
                </a:lnTo>
                <a:lnTo>
                  <a:pt x="1011536" y="4672552"/>
                </a:lnTo>
                <a:close/>
                <a:moveTo>
                  <a:pt x="982363" y="1120204"/>
                </a:moveTo>
                <a:lnTo>
                  <a:pt x="1964725" y="2813933"/>
                </a:lnTo>
                <a:lnTo>
                  <a:pt x="0" y="2813933"/>
                </a:lnTo>
                <a:close/>
                <a:moveTo>
                  <a:pt x="3816180" y="12357"/>
                </a:moveTo>
                <a:lnTo>
                  <a:pt x="5441094" y="2813933"/>
                </a:lnTo>
                <a:lnTo>
                  <a:pt x="2191266" y="2813933"/>
                </a:lnTo>
                <a:close/>
                <a:moveTo>
                  <a:pt x="465439" y="0"/>
                </a:moveTo>
                <a:lnTo>
                  <a:pt x="3715267" y="0"/>
                </a:lnTo>
                <a:lnTo>
                  <a:pt x="2090353" y="280157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 lIns="68546" tIns="34272" rIns="68546" bIns="34272" anchor="ctr">
            <a:noAutofit/>
          </a:bodyPr>
          <a:lstStyle>
            <a:lvl1pPr marL="0" marR="0" indent="0" algn="ctr" defTabSz="685485" rtl="0" eaLnBrk="1" fontAlgn="auto" latinLnBrk="1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/>
            </a:lvl1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</p:spTree>
    <p:extLst>
      <p:ext uri="{BB962C8B-B14F-4D97-AF65-F5344CB8AC3E}">
        <p14:creationId xmlns:p14="http://schemas.microsoft.com/office/powerpoint/2010/main" val="39766534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1520831"/>
            <a:ext cx="9144000" cy="53975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6" tIns="34272" rIns="68546" bIns="34272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/>
          </a:p>
        </p:txBody>
      </p:sp>
      <p:sp>
        <p:nvSpPr>
          <p:cNvPr id="6" name="Rectangle 5"/>
          <p:cNvSpPr/>
          <p:nvPr userDrawn="1"/>
        </p:nvSpPr>
        <p:spPr>
          <a:xfrm>
            <a:off x="0" y="3543305"/>
            <a:ext cx="9144000" cy="53975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6" tIns="34272" rIns="68546" bIns="34272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/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42647" y="254632"/>
            <a:ext cx="8679898" cy="543185"/>
          </a:xfrm>
          <a:prstGeom prst="rect">
            <a:avLst/>
          </a:prstGeom>
        </p:spPr>
        <p:txBody>
          <a:bodyPr lIns="68546" tIns="34272" rIns="68546" bIns="34272" anchor="ctr"/>
          <a:lstStyle>
            <a:lvl1pPr marL="0" indent="0" algn="ctr">
              <a:buNone/>
              <a:defRPr sz="41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ru-RU" altLang="ko-KR"/>
              <a:t>Образец текста</a:t>
            </a:r>
          </a:p>
        </p:txBody>
      </p:sp>
      <p:sp>
        <p:nvSpPr>
          <p:cNvPr id="4" name="Picture Placeholder 2"/>
          <p:cNvSpPr>
            <a:spLocks noGrp="1"/>
          </p:cNvSpPr>
          <p:nvPr>
            <p:ph type="pic" idx="13"/>
          </p:nvPr>
        </p:nvSpPr>
        <p:spPr>
          <a:xfrm>
            <a:off x="0" y="1620499"/>
            <a:ext cx="9144000" cy="187707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68546" tIns="34272" rIns="68546" bIns="34272" anchor="ctr"/>
          <a:lstStyle>
            <a:lvl1pPr marL="0" indent="0" algn="ctr">
              <a:buNone/>
              <a:defRPr sz="1400" baseline="0">
                <a:latin typeface="+mn-lt"/>
                <a:cs typeface="Arial" pitchFamily="34" charset="0"/>
              </a:defRPr>
            </a:lvl1pPr>
            <a:lvl2pPr marL="342728" indent="0">
              <a:buNone/>
              <a:defRPr sz="2100"/>
            </a:lvl2pPr>
            <a:lvl3pPr marL="685450" indent="0">
              <a:buNone/>
              <a:defRPr sz="1800"/>
            </a:lvl3pPr>
            <a:lvl4pPr marL="1028178" indent="0">
              <a:buNone/>
              <a:defRPr sz="1500"/>
            </a:lvl4pPr>
            <a:lvl5pPr marL="1370905" indent="0">
              <a:buNone/>
              <a:defRPr sz="1500"/>
            </a:lvl5pPr>
            <a:lvl6pPr marL="1713630" indent="0">
              <a:buNone/>
              <a:defRPr sz="1500"/>
            </a:lvl6pPr>
            <a:lvl7pPr marL="2056356" indent="0">
              <a:buNone/>
              <a:defRPr sz="1500"/>
            </a:lvl7pPr>
            <a:lvl8pPr marL="2399080" indent="0">
              <a:buNone/>
              <a:defRPr sz="1500"/>
            </a:lvl8pPr>
            <a:lvl9pPr marL="2741808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</p:spTree>
    <p:extLst>
      <p:ext uri="{BB962C8B-B14F-4D97-AF65-F5344CB8AC3E}">
        <p14:creationId xmlns:p14="http://schemas.microsoft.com/office/powerpoint/2010/main" val="96571283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247900"/>
            <a:ext cx="9144000" cy="14033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6" tIns="34272" rIns="68546" bIns="34272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>
              <a:solidFill>
                <a:prstClr val="white"/>
              </a:solidFill>
            </a:endParaRPr>
          </a:p>
        </p:txBody>
      </p:sp>
      <p:grpSp>
        <p:nvGrpSpPr>
          <p:cNvPr id="5" name="Group 6"/>
          <p:cNvGrpSpPr>
            <a:grpSpLocks/>
          </p:cNvGrpSpPr>
          <p:nvPr userDrawn="1"/>
        </p:nvGrpSpPr>
        <p:grpSpPr bwMode="auto">
          <a:xfrm>
            <a:off x="3573469" y="1165225"/>
            <a:ext cx="1997075" cy="3513138"/>
            <a:chOff x="445712" y="1449040"/>
            <a:chExt cx="2113018" cy="3924176"/>
          </a:xfrm>
        </p:grpSpPr>
        <p:sp>
          <p:nvSpPr>
            <p:cNvPr id="6" name="Rounded Rectangle 7"/>
            <p:cNvSpPr/>
            <p:nvPr userDrawn="1"/>
          </p:nvSpPr>
          <p:spPr>
            <a:xfrm>
              <a:off x="445712" y="1449040"/>
              <a:ext cx="2113018" cy="3924176"/>
            </a:xfrm>
            <a:prstGeom prst="roundRect">
              <a:avLst>
                <a:gd name="adj" fmla="val 13580"/>
              </a:avLst>
            </a:prstGeom>
            <a:solidFill>
              <a:srgbClr val="262626"/>
            </a:solidFill>
            <a:ln w="88900">
              <a:noFill/>
            </a:ln>
            <a:effectLst/>
            <a:scene3d>
              <a:camera prst="perspectiveFront"/>
              <a:lightRig rig="threePt" dir="t"/>
            </a:scene3d>
            <a:sp3d prstMaterial="plastic">
              <a:bevelT w="127000" h="50800"/>
              <a:bevelB w="127000" h="254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>
                <a:solidFill>
                  <a:prstClr val="white"/>
                </a:solidFill>
              </a:endParaRPr>
            </a:p>
          </p:txBody>
        </p:sp>
        <p:sp>
          <p:nvSpPr>
            <p:cNvPr id="7" name="Rectangle 8"/>
            <p:cNvSpPr/>
            <p:nvPr userDrawn="1"/>
          </p:nvSpPr>
          <p:spPr>
            <a:xfrm>
              <a:off x="1379605" y="1651189"/>
              <a:ext cx="216676" cy="33692"/>
            </a:xfrm>
            <a:prstGeom prst="rect">
              <a:avLst/>
            </a:prstGeom>
            <a:solidFill>
              <a:srgbClr val="B0B0B0"/>
            </a:solidFill>
            <a:ln w="889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>
                <a:solidFill>
                  <a:prstClr val="white"/>
                </a:solidFill>
              </a:endParaRPr>
            </a:p>
          </p:txBody>
        </p:sp>
        <p:grpSp>
          <p:nvGrpSpPr>
            <p:cNvPr id="8" name="Group 10"/>
            <p:cNvGrpSpPr>
              <a:grpSpLocks/>
            </p:cNvGrpSpPr>
            <p:nvPr userDrawn="1"/>
          </p:nvGrpSpPr>
          <p:grpSpPr bwMode="auto">
            <a:xfrm>
              <a:off x="1407705" y="5045834"/>
              <a:ext cx="211967" cy="211967"/>
              <a:chOff x="1549420" y="5712364"/>
              <a:chExt cx="312583" cy="312583"/>
            </a:xfrm>
          </p:grpSpPr>
          <p:sp>
            <p:nvSpPr>
              <p:cNvPr id="9" name="Oval 11"/>
              <p:cNvSpPr/>
              <p:nvPr userDrawn="1"/>
            </p:nvSpPr>
            <p:spPr>
              <a:xfrm>
                <a:off x="1549420" y="5712364"/>
                <a:ext cx="312583" cy="312583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94000"/>
                      <a:lumOff val="6000"/>
                    </a:schemeClr>
                  </a:gs>
                  <a:gs pos="56000">
                    <a:schemeClr val="tx1">
                      <a:lumMod val="65000"/>
                      <a:lumOff val="35000"/>
                    </a:schemeClr>
                  </a:gs>
                  <a:gs pos="91000">
                    <a:schemeClr val="tx1">
                      <a:lumMod val="50000"/>
                      <a:lumOff val="50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0800000" scaled="1"/>
                <a:tileRect/>
              </a:gradFill>
              <a:ln w="0">
                <a:solidFill>
                  <a:srgbClr val="262626"/>
                </a:solidFill>
              </a:ln>
              <a:scene3d>
                <a:camera prst="perspectiveFront"/>
                <a:lightRig rig="threePt" dir="t"/>
              </a:scene3d>
              <a:sp3d>
                <a:bevelT w="635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ko-KR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0" name="Rounded Rectangle 12"/>
              <p:cNvSpPr/>
              <p:nvPr userDrawn="1"/>
            </p:nvSpPr>
            <p:spPr>
              <a:xfrm>
                <a:off x="1634306" y="5795057"/>
                <a:ext cx="143664" cy="146437"/>
              </a:xfrm>
              <a:prstGeom prst="roundRect">
                <a:avLst/>
              </a:prstGeom>
              <a:solidFill>
                <a:srgbClr val="737373"/>
              </a:solidFill>
              <a:ln w="6350">
                <a:solidFill>
                  <a:srgbClr val="B0B0B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ko-KR" altLang="en-US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22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42647" y="254632"/>
            <a:ext cx="8679898" cy="543185"/>
          </a:xfrm>
          <a:prstGeom prst="rect">
            <a:avLst/>
          </a:prstGeom>
        </p:spPr>
        <p:txBody>
          <a:bodyPr lIns="68546" tIns="34272" rIns="68546" bIns="34272" anchor="ctr"/>
          <a:lstStyle>
            <a:lvl1pPr marL="0" indent="0" algn="ctr">
              <a:buNone/>
              <a:defRPr sz="41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ru-RU" altLang="ko-KR"/>
              <a:t>Образец текста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idx="11"/>
          </p:nvPr>
        </p:nvSpPr>
        <p:spPr>
          <a:xfrm>
            <a:off x="3713834" y="1473878"/>
            <a:ext cx="1716345" cy="281480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</p:spTree>
    <p:extLst>
      <p:ext uri="{BB962C8B-B14F-4D97-AF65-F5344CB8AC3E}">
        <p14:creationId xmlns:p14="http://schemas.microsoft.com/office/powerpoint/2010/main" val="173602536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k object 16"/>
          <p:cNvSpPr>
            <a:spLocks noChangeArrowheads="1"/>
          </p:cNvSpPr>
          <p:nvPr/>
        </p:nvSpPr>
        <p:spPr bwMode="auto">
          <a:xfrm>
            <a:off x="3413131" y="60325"/>
            <a:ext cx="5186363" cy="507523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5pPr>
            <a:lvl6pPr marL="25146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6pPr>
            <a:lvl7pPr marL="29718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7pPr>
            <a:lvl8pPr marL="34290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8pPr>
            <a:lvl9pPr marL="38862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9pPr>
          </a:lstStyle>
          <a:p>
            <a:pPr eaLnBrk="1" hangingPunct="1">
              <a:defRPr/>
            </a:pPr>
            <a:endParaRPr lang="en-US" altLang="en-US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5" name="bk object 17"/>
          <p:cNvSpPr>
            <a:spLocks noChangeArrowheads="1"/>
          </p:cNvSpPr>
          <p:nvPr/>
        </p:nvSpPr>
        <p:spPr bwMode="auto">
          <a:xfrm>
            <a:off x="2755906" y="2428875"/>
            <a:ext cx="2155825" cy="1119188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5pPr>
            <a:lvl6pPr marL="25146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6pPr>
            <a:lvl7pPr marL="29718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7pPr>
            <a:lvl8pPr marL="34290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8pPr>
            <a:lvl9pPr marL="38862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9pPr>
          </a:lstStyle>
          <a:p>
            <a:pPr eaLnBrk="1" hangingPunct="1">
              <a:defRPr/>
            </a:pPr>
            <a:endParaRPr lang="en-US" altLang="en-US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6" name="bk object 18"/>
          <p:cNvSpPr>
            <a:spLocks noChangeArrowheads="1"/>
          </p:cNvSpPr>
          <p:nvPr/>
        </p:nvSpPr>
        <p:spPr bwMode="auto">
          <a:xfrm>
            <a:off x="4248150" y="2428875"/>
            <a:ext cx="831850" cy="1119188"/>
          </a:xfrm>
          <a:prstGeom prst="rect">
            <a:avLst/>
          </a:prstGeom>
          <a:blipFill dpi="0" rotWithShape="1">
            <a:blip r:embed="rId4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5pPr>
            <a:lvl6pPr marL="25146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6pPr>
            <a:lvl7pPr marL="29718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7pPr>
            <a:lvl8pPr marL="34290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8pPr>
            <a:lvl9pPr marL="38862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9pPr>
          </a:lstStyle>
          <a:p>
            <a:pPr eaLnBrk="1" hangingPunct="1">
              <a:defRPr/>
            </a:pPr>
            <a:endParaRPr lang="en-US" altLang="en-US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7" name="bk object 19"/>
          <p:cNvSpPr>
            <a:spLocks noChangeArrowheads="1"/>
          </p:cNvSpPr>
          <p:nvPr/>
        </p:nvSpPr>
        <p:spPr bwMode="auto">
          <a:xfrm>
            <a:off x="4559306" y="2428875"/>
            <a:ext cx="3173413" cy="1119188"/>
          </a:xfrm>
          <a:prstGeom prst="rect">
            <a:avLst/>
          </a:prstGeom>
          <a:blipFill dpi="0" rotWithShape="1">
            <a:blip r:embed="rId5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5pPr>
            <a:lvl6pPr marL="25146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6pPr>
            <a:lvl7pPr marL="29718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7pPr>
            <a:lvl8pPr marL="34290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8pPr>
            <a:lvl9pPr marL="38862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9pPr>
          </a:lstStyle>
          <a:p>
            <a:pPr eaLnBrk="1" hangingPunct="1">
              <a:defRPr/>
            </a:pPr>
            <a:endParaRPr lang="en-US" altLang="en-US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338452" y="1149861"/>
            <a:ext cx="6467094" cy="276999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2880364"/>
            <a:ext cx="6400800" cy="276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/>
          </a:p>
        </p:txBody>
      </p:sp>
      <p:sp>
        <p:nvSpPr>
          <p:cNvPr id="8" name="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9" name="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 algn="l"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709333CA-F8BC-4F2B-B826-DEB7A16C63C9}" type="datetime1">
              <a:rPr lang="en-US" smtClean="0"/>
              <a:pPr>
                <a:defRPr/>
              </a:pPr>
              <a:t>4/20/2022</a:t>
            </a:fld>
            <a:endParaRPr lang="en-US"/>
          </a:p>
        </p:txBody>
      </p:sp>
      <p:sp>
        <p:nvSpPr>
          <p:cNvPr id="10" name="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0017579-6421-4C75-A2C0-C122EC935D93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008233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20663" y="930277"/>
            <a:ext cx="7808912" cy="369332"/>
          </a:xfrm>
        </p:spPr>
        <p:txBody>
          <a:bodyPr/>
          <a:lstStyle>
            <a:lvl1pPr>
              <a:defRPr sz="2400" b="1" i="0">
                <a:solidFill>
                  <a:srgbClr val="0462BA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101725" y="2395541"/>
            <a:ext cx="7488238" cy="276999"/>
          </a:xfrm>
        </p:spPr>
        <p:txBody>
          <a:bodyPr/>
          <a:lstStyle>
            <a:lvl1pPr>
              <a:defRPr sz="1800" b="0" i="0">
                <a:solidFill>
                  <a:srgbClr val="2A3990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DAF5A6-7D19-4187-A4BF-C854E2F315D6}" type="datetime1">
              <a:rPr lang="en-US" smtClean="0"/>
              <a:pPr>
                <a:defRPr/>
              </a:pPr>
              <a:t>4/20/20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0EC03B3-37F1-44B7-BD7F-3AB73D04AF3E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9260843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20663" y="930277"/>
            <a:ext cx="7808912" cy="369332"/>
          </a:xfrm>
        </p:spPr>
        <p:txBody>
          <a:bodyPr/>
          <a:lstStyle>
            <a:lvl1pPr>
              <a:defRPr sz="2400" b="1" i="0">
                <a:solidFill>
                  <a:srgbClr val="0462BA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183009"/>
            <a:ext cx="3977640" cy="276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183009"/>
            <a:ext cx="3977640" cy="276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  <p:sp>
        <p:nvSpPr>
          <p:cNvPr id="6" name="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9184E4-E4DB-4C54-BC6B-428D49A50BB9}" type="datetime1">
              <a:rPr lang="en-US" smtClean="0"/>
              <a:pPr>
                <a:defRPr/>
              </a:pPr>
              <a:t>4/20/2022</a:t>
            </a:fld>
            <a:endParaRPr lang="en-US"/>
          </a:p>
        </p:txBody>
      </p:sp>
      <p:sp>
        <p:nvSpPr>
          <p:cNvPr id="7" name="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8616BFC-12E3-4F4C-8E6D-AACE0B1CC6EB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145135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20663" y="930277"/>
            <a:ext cx="7808912" cy="369332"/>
          </a:xfrm>
        </p:spPr>
        <p:txBody>
          <a:bodyPr/>
          <a:lstStyle>
            <a:lvl1pPr>
              <a:defRPr sz="2400" b="1" i="0">
                <a:solidFill>
                  <a:srgbClr val="0462BA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  <p:sp>
        <p:nvSpPr>
          <p:cNvPr id="4" name="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BACD453-6A42-415A-8125-E3BD12372975}" type="datetime1">
              <a:rPr lang="en-US" smtClean="0"/>
              <a:pPr>
                <a:defRPr/>
              </a:pPr>
              <a:t>4/20/2022</a:t>
            </a:fld>
            <a:endParaRPr lang="en-US"/>
          </a:p>
        </p:txBody>
      </p:sp>
      <p:sp>
        <p:nvSpPr>
          <p:cNvPr id="5" name="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F6EE167-9B87-488A-80D3-4099AC4162E7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5901335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k object 16"/>
          <p:cNvSpPr>
            <a:spLocks/>
          </p:cNvSpPr>
          <p:nvPr/>
        </p:nvSpPr>
        <p:spPr bwMode="auto">
          <a:xfrm>
            <a:off x="0" y="482600"/>
            <a:ext cx="9144000" cy="0"/>
          </a:xfrm>
          <a:custGeom>
            <a:avLst/>
            <a:gdLst>
              <a:gd name="T0" fmla="*/ 0 w 9144000"/>
              <a:gd name="T1" fmla="*/ 9144000 w 9144000"/>
              <a:gd name="T2" fmla="*/ 0 60000 65536"/>
              <a:gd name="T3" fmla="*/ 0 60000 65536"/>
            </a:gdLst>
            <a:ahLst/>
            <a:cxnLst>
              <a:cxn ang="T2">
                <a:pos x="T0" y="0"/>
              </a:cxn>
              <a:cxn ang="T3">
                <a:pos x="T1" y="0"/>
              </a:cxn>
            </a:cxnLst>
            <a:rect l="0" t="0" r="r" b="b"/>
            <a:pathLst>
              <a:path w="9144000">
                <a:moveTo>
                  <a:pt x="0" y="0"/>
                </a:moveTo>
                <a:lnTo>
                  <a:pt x="9144000" y="0"/>
                </a:lnTo>
              </a:path>
            </a:pathLst>
          </a:custGeom>
          <a:noFill/>
          <a:ln w="12192">
            <a:solidFill>
              <a:srgbClr val="006F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ru-RU"/>
          </a:p>
        </p:txBody>
      </p:sp>
      <p:sp>
        <p:nvSpPr>
          <p:cNvPr id="3" name="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4" name="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 algn="l"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F33F4E13-0C3F-44D0-84A7-296DFC7DFF4F}" type="datetime1">
              <a:rPr lang="en-US" smtClean="0"/>
              <a:pPr>
                <a:defRPr/>
              </a:pPr>
              <a:t>4/20/2022</a:t>
            </a:fld>
            <a:endParaRPr lang="en-US"/>
          </a:p>
        </p:txBody>
      </p:sp>
      <p:sp>
        <p:nvSpPr>
          <p:cNvPr id="5" name="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97EECB4-29B3-4E89-AADF-A1EAC60B95AF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2224341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674418"/>
      </p:ext>
    </p:extLst>
  </p:cSld>
  <p:clrMapOvr>
    <a:masterClrMapping/>
  </p:clrMapOvr>
  <p:transition spd="slow">
    <p:push dir="u"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5"/>
            <a:ext cx="9144000" cy="2733403"/>
          </a:xfrm>
          <a:custGeom>
            <a:avLst/>
            <a:gdLst>
              <a:gd name="connsiteX0" fmla="*/ 0 w 12192000"/>
              <a:gd name="connsiteY0" fmla="*/ 0 h 3644537"/>
              <a:gd name="connsiteX1" fmla="*/ 12192000 w 12192000"/>
              <a:gd name="connsiteY1" fmla="*/ 0 h 3644537"/>
              <a:gd name="connsiteX2" fmla="*/ 12192000 w 12192000"/>
              <a:gd name="connsiteY2" fmla="*/ 3644537 h 3644537"/>
              <a:gd name="connsiteX3" fmla="*/ 0 w 12192000"/>
              <a:gd name="connsiteY3" fmla="*/ 3644537 h 3644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644537">
                <a:moveTo>
                  <a:pt x="0" y="0"/>
                </a:moveTo>
                <a:lnTo>
                  <a:pt x="12192000" y="0"/>
                </a:lnTo>
                <a:lnTo>
                  <a:pt x="12192000" y="3644537"/>
                </a:lnTo>
                <a:lnTo>
                  <a:pt x="0" y="364453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00"/>
            </a:lvl1pPr>
          </a:lstStyle>
          <a:p>
            <a:pPr lvl="0"/>
            <a:endParaRPr lang="en-US" noProof="0"/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EF22E7C5-3AE3-452D-920D-E4A4CAB4E0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B7C772-5CA6-4F1C-889D-6BE1028A9085}" type="datetime1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4/20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29875BD2-4B0D-4688-BE20-96177894C9D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82379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그림 개체 틀 12"/>
          <p:cNvSpPr>
            <a:spLocks noGrp="1"/>
          </p:cNvSpPr>
          <p:nvPr>
            <p:ph type="pic" sz="quarter" idx="10"/>
          </p:nvPr>
        </p:nvSpPr>
        <p:spPr>
          <a:xfrm>
            <a:off x="599302" y="917494"/>
            <a:ext cx="4080821" cy="3541485"/>
          </a:xfrm>
          <a:custGeom>
            <a:avLst/>
            <a:gdLst>
              <a:gd name="connsiteX0" fmla="*/ 2090352 w 5441094"/>
              <a:gd name="connsiteY0" fmla="*/ 2977952 h 4721980"/>
              <a:gd name="connsiteX1" fmla="*/ 3101888 w 5441094"/>
              <a:gd name="connsiteY1" fmla="*/ 4721980 h 4721980"/>
              <a:gd name="connsiteX2" fmla="*/ 1078816 w 5441094"/>
              <a:gd name="connsiteY2" fmla="*/ 4721980 h 4721980"/>
              <a:gd name="connsiteX3" fmla="*/ 2191267 w 5441094"/>
              <a:gd name="connsiteY3" fmla="*/ 2940880 h 4721980"/>
              <a:gd name="connsiteX4" fmla="*/ 4155992 w 5441094"/>
              <a:gd name="connsiteY4" fmla="*/ 2940880 h 4721980"/>
              <a:gd name="connsiteX5" fmla="*/ 3173629 w 5441094"/>
              <a:gd name="connsiteY5" fmla="*/ 4634609 h 4721980"/>
              <a:gd name="connsiteX6" fmla="*/ 0 w 5441094"/>
              <a:gd name="connsiteY6" fmla="*/ 2928524 h 4721980"/>
              <a:gd name="connsiteX7" fmla="*/ 2023072 w 5441094"/>
              <a:gd name="connsiteY7" fmla="*/ 2928524 h 4721980"/>
              <a:gd name="connsiteX8" fmla="*/ 1011536 w 5441094"/>
              <a:gd name="connsiteY8" fmla="*/ 4672552 h 4721980"/>
              <a:gd name="connsiteX9" fmla="*/ 982363 w 5441094"/>
              <a:gd name="connsiteY9" fmla="*/ 1120204 h 4721980"/>
              <a:gd name="connsiteX10" fmla="*/ 1964725 w 5441094"/>
              <a:gd name="connsiteY10" fmla="*/ 2813933 h 4721980"/>
              <a:gd name="connsiteX11" fmla="*/ 0 w 5441094"/>
              <a:gd name="connsiteY11" fmla="*/ 2813933 h 4721980"/>
              <a:gd name="connsiteX12" fmla="*/ 3816180 w 5441094"/>
              <a:gd name="connsiteY12" fmla="*/ 12357 h 4721980"/>
              <a:gd name="connsiteX13" fmla="*/ 5441094 w 5441094"/>
              <a:gd name="connsiteY13" fmla="*/ 2813933 h 4721980"/>
              <a:gd name="connsiteX14" fmla="*/ 2191266 w 5441094"/>
              <a:gd name="connsiteY14" fmla="*/ 2813933 h 4721980"/>
              <a:gd name="connsiteX15" fmla="*/ 465439 w 5441094"/>
              <a:gd name="connsiteY15" fmla="*/ 0 h 4721980"/>
              <a:gd name="connsiteX16" fmla="*/ 3715267 w 5441094"/>
              <a:gd name="connsiteY16" fmla="*/ 0 h 4721980"/>
              <a:gd name="connsiteX17" fmla="*/ 2090353 w 5441094"/>
              <a:gd name="connsiteY17" fmla="*/ 2801576 h 47219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441094" h="4721980">
                <a:moveTo>
                  <a:pt x="2090352" y="2977952"/>
                </a:moveTo>
                <a:lnTo>
                  <a:pt x="3101888" y="4721980"/>
                </a:lnTo>
                <a:lnTo>
                  <a:pt x="1078816" y="4721980"/>
                </a:lnTo>
                <a:close/>
                <a:moveTo>
                  <a:pt x="2191267" y="2940880"/>
                </a:moveTo>
                <a:lnTo>
                  <a:pt x="4155992" y="2940880"/>
                </a:lnTo>
                <a:lnTo>
                  <a:pt x="3173629" y="4634609"/>
                </a:lnTo>
                <a:close/>
                <a:moveTo>
                  <a:pt x="0" y="2928524"/>
                </a:moveTo>
                <a:lnTo>
                  <a:pt x="2023072" y="2928524"/>
                </a:lnTo>
                <a:lnTo>
                  <a:pt x="1011536" y="4672552"/>
                </a:lnTo>
                <a:close/>
                <a:moveTo>
                  <a:pt x="982363" y="1120204"/>
                </a:moveTo>
                <a:lnTo>
                  <a:pt x="1964725" y="2813933"/>
                </a:lnTo>
                <a:lnTo>
                  <a:pt x="0" y="2813933"/>
                </a:lnTo>
                <a:close/>
                <a:moveTo>
                  <a:pt x="3816180" y="12357"/>
                </a:moveTo>
                <a:lnTo>
                  <a:pt x="5441094" y="2813933"/>
                </a:lnTo>
                <a:lnTo>
                  <a:pt x="2191266" y="2813933"/>
                </a:lnTo>
                <a:close/>
                <a:moveTo>
                  <a:pt x="465439" y="0"/>
                </a:moveTo>
                <a:lnTo>
                  <a:pt x="3715267" y="0"/>
                </a:lnTo>
                <a:lnTo>
                  <a:pt x="2090353" y="280157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 lIns="68546" tIns="34272" rIns="68546" bIns="34272" anchor="ctr">
            <a:noAutofit/>
          </a:bodyPr>
          <a:lstStyle>
            <a:lvl1pPr marL="0" marR="0" indent="0" algn="ctr" defTabSz="685485" rtl="0" eaLnBrk="1" fontAlgn="auto" latinLnBrk="1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/>
            </a:lvl1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</p:spTree>
    <p:extLst>
      <p:ext uri="{BB962C8B-B14F-4D97-AF65-F5344CB8AC3E}">
        <p14:creationId xmlns:p14="http://schemas.microsoft.com/office/powerpoint/2010/main" val="26252996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247900"/>
            <a:ext cx="9144000" cy="14033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6" tIns="34272" rIns="68546" bIns="34272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/>
          </a:p>
        </p:txBody>
      </p:sp>
      <p:grpSp>
        <p:nvGrpSpPr>
          <p:cNvPr id="5" name="Group 6"/>
          <p:cNvGrpSpPr>
            <a:grpSpLocks/>
          </p:cNvGrpSpPr>
          <p:nvPr userDrawn="1"/>
        </p:nvGrpSpPr>
        <p:grpSpPr bwMode="auto">
          <a:xfrm>
            <a:off x="3573469" y="1165225"/>
            <a:ext cx="1997075" cy="3513138"/>
            <a:chOff x="445712" y="1449040"/>
            <a:chExt cx="2113018" cy="3924176"/>
          </a:xfrm>
        </p:grpSpPr>
        <p:sp>
          <p:nvSpPr>
            <p:cNvPr id="6" name="Rounded Rectangle 7"/>
            <p:cNvSpPr/>
            <p:nvPr userDrawn="1"/>
          </p:nvSpPr>
          <p:spPr>
            <a:xfrm>
              <a:off x="445712" y="1449040"/>
              <a:ext cx="2113018" cy="3924176"/>
            </a:xfrm>
            <a:prstGeom prst="roundRect">
              <a:avLst>
                <a:gd name="adj" fmla="val 13580"/>
              </a:avLst>
            </a:prstGeom>
            <a:solidFill>
              <a:srgbClr val="262626"/>
            </a:solidFill>
            <a:ln w="88900">
              <a:noFill/>
            </a:ln>
            <a:effectLst/>
            <a:scene3d>
              <a:camera prst="perspectiveFront"/>
              <a:lightRig rig="threePt" dir="t"/>
            </a:scene3d>
            <a:sp3d prstMaterial="plastic">
              <a:bevelT w="127000" h="50800"/>
              <a:bevelB w="127000" h="254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/>
            </a:p>
          </p:txBody>
        </p:sp>
        <p:sp>
          <p:nvSpPr>
            <p:cNvPr id="7" name="Rectangle 8"/>
            <p:cNvSpPr/>
            <p:nvPr userDrawn="1"/>
          </p:nvSpPr>
          <p:spPr>
            <a:xfrm>
              <a:off x="1379605" y="1651189"/>
              <a:ext cx="216676" cy="33692"/>
            </a:xfrm>
            <a:prstGeom prst="rect">
              <a:avLst/>
            </a:prstGeom>
            <a:solidFill>
              <a:srgbClr val="B0B0B0"/>
            </a:solidFill>
            <a:ln w="889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/>
            </a:p>
          </p:txBody>
        </p:sp>
        <p:grpSp>
          <p:nvGrpSpPr>
            <p:cNvPr id="8" name="Group 10"/>
            <p:cNvGrpSpPr>
              <a:grpSpLocks/>
            </p:cNvGrpSpPr>
            <p:nvPr userDrawn="1"/>
          </p:nvGrpSpPr>
          <p:grpSpPr bwMode="auto">
            <a:xfrm>
              <a:off x="1407705" y="5045834"/>
              <a:ext cx="211967" cy="211967"/>
              <a:chOff x="1549420" y="5712364"/>
              <a:chExt cx="312583" cy="312583"/>
            </a:xfrm>
          </p:grpSpPr>
          <p:sp>
            <p:nvSpPr>
              <p:cNvPr id="9" name="Oval 11"/>
              <p:cNvSpPr/>
              <p:nvPr userDrawn="1"/>
            </p:nvSpPr>
            <p:spPr>
              <a:xfrm>
                <a:off x="1549420" y="5712364"/>
                <a:ext cx="312583" cy="312583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94000"/>
                      <a:lumOff val="6000"/>
                    </a:schemeClr>
                  </a:gs>
                  <a:gs pos="56000">
                    <a:schemeClr val="tx1">
                      <a:lumMod val="65000"/>
                      <a:lumOff val="35000"/>
                    </a:schemeClr>
                  </a:gs>
                  <a:gs pos="91000">
                    <a:schemeClr val="tx1">
                      <a:lumMod val="50000"/>
                      <a:lumOff val="50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0800000" scaled="1"/>
                <a:tileRect/>
              </a:gradFill>
              <a:ln w="0">
                <a:solidFill>
                  <a:srgbClr val="262626"/>
                </a:solidFill>
              </a:ln>
              <a:scene3d>
                <a:camera prst="perspectiveFront"/>
                <a:lightRig rig="threePt" dir="t"/>
              </a:scene3d>
              <a:sp3d>
                <a:bevelT w="635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ko-KR" altLang="en-US"/>
              </a:p>
            </p:txBody>
          </p:sp>
          <p:sp>
            <p:nvSpPr>
              <p:cNvPr id="10" name="Rounded Rectangle 12"/>
              <p:cNvSpPr/>
              <p:nvPr userDrawn="1"/>
            </p:nvSpPr>
            <p:spPr>
              <a:xfrm>
                <a:off x="1634306" y="5795057"/>
                <a:ext cx="143664" cy="146437"/>
              </a:xfrm>
              <a:prstGeom prst="roundRect">
                <a:avLst/>
              </a:prstGeom>
              <a:solidFill>
                <a:srgbClr val="737373"/>
              </a:solidFill>
              <a:ln w="6350">
                <a:solidFill>
                  <a:srgbClr val="B0B0B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ko-KR" altLang="en-US"/>
              </a:p>
            </p:txBody>
          </p:sp>
        </p:grpSp>
      </p:grpSp>
      <p:sp>
        <p:nvSpPr>
          <p:cNvPr id="22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42647" y="254632"/>
            <a:ext cx="8679898" cy="543185"/>
          </a:xfrm>
          <a:prstGeom prst="rect">
            <a:avLst/>
          </a:prstGeom>
        </p:spPr>
        <p:txBody>
          <a:bodyPr lIns="68546" tIns="34272" rIns="68546" bIns="34272" anchor="ctr"/>
          <a:lstStyle>
            <a:lvl1pPr marL="0" indent="0" algn="ctr">
              <a:buNone/>
              <a:defRPr sz="41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ru-RU" altLang="ko-KR"/>
              <a:t>Образец текста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idx="11"/>
          </p:nvPr>
        </p:nvSpPr>
        <p:spPr>
          <a:xfrm>
            <a:off x="3713834" y="1473878"/>
            <a:ext cx="1716345" cy="281480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</p:spTree>
    <p:extLst>
      <p:ext uri="{BB962C8B-B14F-4D97-AF65-F5344CB8AC3E}">
        <p14:creationId xmlns:p14="http://schemas.microsoft.com/office/powerpoint/2010/main" val="13404249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k object 16"/>
          <p:cNvSpPr>
            <a:spLocks noChangeArrowheads="1"/>
          </p:cNvSpPr>
          <p:nvPr/>
        </p:nvSpPr>
        <p:spPr bwMode="auto">
          <a:xfrm>
            <a:off x="3413131" y="60325"/>
            <a:ext cx="5186363" cy="507523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5pPr>
            <a:lvl6pPr marL="25146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6pPr>
            <a:lvl7pPr marL="29718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7pPr>
            <a:lvl8pPr marL="34290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8pPr>
            <a:lvl9pPr marL="38862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9pPr>
          </a:lstStyle>
          <a:p>
            <a:pPr eaLnBrk="1" hangingPunct="1">
              <a:defRPr/>
            </a:pPr>
            <a:endParaRPr lang="en-US" altLang="en-US">
              <a:latin typeface="Calibri" panose="020F0502020204030204" pitchFamily="34" charset="0"/>
            </a:endParaRPr>
          </a:p>
        </p:txBody>
      </p:sp>
      <p:sp>
        <p:nvSpPr>
          <p:cNvPr id="5" name="bk object 17"/>
          <p:cNvSpPr>
            <a:spLocks noChangeArrowheads="1"/>
          </p:cNvSpPr>
          <p:nvPr/>
        </p:nvSpPr>
        <p:spPr bwMode="auto">
          <a:xfrm>
            <a:off x="2755906" y="2428875"/>
            <a:ext cx="2155825" cy="1119188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5pPr>
            <a:lvl6pPr marL="25146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6pPr>
            <a:lvl7pPr marL="29718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7pPr>
            <a:lvl8pPr marL="34290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8pPr>
            <a:lvl9pPr marL="38862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9pPr>
          </a:lstStyle>
          <a:p>
            <a:pPr eaLnBrk="1" hangingPunct="1">
              <a:defRPr/>
            </a:pPr>
            <a:endParaRPr lang="en-US" altLang="en-US">
              <a:latin typeface="Calibri" panose="020F0502020204030204" pitchFamily="34" charset="0"/>
            </a:endParaRPr>
          </a:p>
        </p:txBody>
      </p:sp>
      <p:sp>
        <p:nvSpPr>
          <p:cNvPr id="6" name="bk object 18"/>
          <p:cNvSpPr>
            <a:spLocks noChangeArrowheads="1"/>
          </p:cNvSpPr>
          <p:nvPr/>
        </p:nvSpPr>
        <p:spPr bwMode="auto">
          <a:xfrm>
            <a:off x="4248150" y="2428875"/>
            <a:ext cx="831850" cy="1119188"/>
          </a:xfrm>
          <a:prstGeom prst="rect">
            <a:avLst/>
          </a:prstGeom>
          <a:blipFill dpi="0" rotWithShape="1">
            <a:blip r:embed="rId4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5pPr>
            <a:lvl6pPr marL="25146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6pPr>
            <a:lvl7pPr marL="29718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7pPr>
            <a:lvl8pPr marL="34290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8pPr>
            <a:lvl9pPr marL="38862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9pPr>
          </a:lstStyle>
          <a:p>
            <a:pPr eaLnBrk="1" hangingPunct="1">
              <a:defRPr/>
            </a:pPr>
            <a:endParaRPr lang="en-US" altLang="en-US">
              <a:latin typeface="Calibri" panose="020F0502020204030204" pitchFamily="34" charset="0"/>
            </a:endParaRPr>
          </a:p>
        </p:txBody>
      </p:sp>
      <p:sp>
        <p:nvSpPr>
          <p:cNvPr id="7" name="bk object 19"/>
          <p:cNvSpPr>
            <a:spLocks noChangeArrowheads="1"/>
          </p:cNvSpPr>
          <p:nvPr/>
        </p:nvSpPr>
        <p:spPr bwMode="auto">
          <a:xfrm>
            <a:off x="4559306" y="2428875"/>
            <a:ext cx="3173413" cy="1119188"/>
          </a:xfrm>
          <a:prstGeom prst="rect">
            <a:avLst/>
          </a:prstGeom>
          <a:blipFill dpi="0" rotWithShape="1">
            <a:blip r:embed="rId5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5pPr>
            <a:lvl6pPr marL="25146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6pPr>
            <a:lvl7pPr marL="29718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7pPr>
            <a:lvl8pPr marL="34290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8pPr>
            <a:lvl9pPr marL="38862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9pPr>
          </a:lstStyle>
          <a:p>
            <a:pPr eaLnBrk="1" hangingPunct="1">
              <a:defRPr/>
            </a:pPr>
            <a:endParaRPr lang="en-US" altLang="en-US">
              <a:latin typeface="Calibri" panose="020F0502020204030204" pitchFamily="34" charset="0"/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338452" y="1149861"/>
            <a:ext cx="6467094" cy="276999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2880364"/>
            <a:ext cx="6400800" cy="276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/>
          </a:p>
        </p:txBody>
      </p:sp>
      <p:sp>
        <p:nvSpPr>
          <p:cNvPr id="8" name="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9" name="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B8DEF70C-72B8-4FD0-BAEE-FB3E4874A3B7}" type="datetime1">
              <a:rPr lang="en-US" smtClean="0"/>
              <a:pPr>
                <a:defRPr/>
              </a:pPr>
              <a:t>4/20/2022</a:t>
            </a:fld>
            <a:endParaRPr lang="en-US"/>
          </a:p>
        </p:txBody>
      </p:sp>
      <p:sp>
        <p:nvSpPr>
          <p:cNvPr id="10" name="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FF6E0B5-465B-469A-AC32-585EC6EDC890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765814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5.xml"/><Relationship Id="rId4" Type="http://schemas.openxmlformats.org/officeDocument/2006/relationships/slideLayout" Target="../slideLayouts/slideLayout34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6.xml"/><Relationship Id="rId9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6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5100" r:id="rId1"/>
    <p:sldLayoutId id="2147485101" r:id="rId2"/>
    <p:sldLayoutId id="2147485138" r:id="rId3"/>
    <p:sldLayoutId id="2147485139" r:id="rId4"/>
    <p:sldLayoutId id="2147485102" r:id="rId5"/>
    <p:sldLayoutId id="2147485140" r:id="rId6"/>
    <p:sldLayoutId id="2147485103" r:id="rId7"/>
    <p:sldLayoutId id="2147485141" r:id="rId8"/>
  </p:sldLayoutIdLst>
  <p:hf hdr="0" ftr="0" dt="0"/>
  <p:txStyles>
    <p:titleStyle>
      <a:lvl1pPr algn="l" defTabSz="6854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Arial Unicode MS"/>
        </a:defRPr>
      </a:lvl1pPr>
      <a:lvl2pPr algn="l" defTabSz="6854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2pPr>
      <a:lvl3pPr algn="l" defTabSz="6854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3pPr>
      <a:lvl4pPr algn="l" defTabSz="6854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4pPr>
      <a:lvl5pPr algn="l" defTabSz="6854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5pPr>
      <a:lvl6pPr marL="456968" algn="l" defTabSz="68545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6pPr>
      <a:lvl7pPr marL="913936" algn="l" defTabSz="68545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7pPr>
      <a:lvl8pPr marL="1370905" algn="l" defTabSz="68545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8pPr>
      <a:lvl9pPr marL="1827872" algn="l" defTabSz="68545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9pPr>
    </p:titleStyle>
    <p:bodyStyle>
      <a:lvl1pPr marL="171364" indent="-171364" algn="l" defTabSz="685450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Arial Unicode MS"/>
        </a:defRPr>
      </a:lvl1pPr>
      <a:lvl2pPr marL="514089" indent="-171364" algn="l" defTabSz="68545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Arial Unicode MS"/>
        </a:defRPr>
      </a:lvl2pPr>
      <a:lvl3pPr marL="856814" indent="-171364" algn="l" defTabSz="68545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Arial Unicode MS"/>
        </a:defRPr>
      </a:lvl3pPr>
      <a:lvl4pPr marL="1199541" indent="-171364" algn="l" defTabSz="68545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Arial Unicode MS"/>
        </a:defRPr>
      </a:lvl4pPr>
      <a:lvl5pPr marL="1542265" indent="-171364" algn="l" defTabSz="68545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Arial Unicode MS"/>
        </a:defRPr>
      </a:lvl5pPr>
      <a:lvl6pPr marL="1884992" indent="-171364" algn="l" defTabSz="6854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7717" indent="-171364" algn="l" defTabSz="6854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0444" indent="-171364" algn="l" defTabSz="6854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3169" indent="-171364" algn="l" defTabSz="6854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728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450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178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0905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3630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356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080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1808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Holder 2"/>
          <p:cNvSpPr>
            <a:spLocks noGrp="1"/>
          </p:cNvSpPr>
          <p:nvPr>
            <p:ph type="title"/>
          </p:nvPr>
        </p:nvSpPr>
        <p:spPr bwMode="auto">
          <a:xfrm>
            <a:off x="220663" y="930278"/>
            <a:ext cx="780891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endParaRPr lang="en-US" altLang="en-US"/>
          </a:p>
        </p:txBody>
      </p:sp>
      <p:sp>
        <p:nvSpPr>
          <p:cNvPr id="1027" name="Holder 3"/>
          <p:cNvSpPr>
            <a:spLocks noGrp="1"/>
          </p:cNvSpPr>
          <p:nvPr>
            <p:ph type="body" idx="1"/>
          </p:nvPr>
        </p:nvSpPr>
        <p:spPr bwMode="auto">
          <a:xfrm>
            <a:off x="1101725" y="2395542"/>
            <a:ext cx="748823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endParaRPr lang="en-US" altLang="en-US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325" y="4783138"/>
            <a:ext cx="2927350" cy="2169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4783138"/>
            <a:ext cx="2103438" cy="2169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ECD4E147-178A-4DEC-9254-0DD66C532E1B}" type="datetime1">
              <a:rPr lang="en-US" smtClean="0"/>
              <a:pPr>
                <a:defRPr/>
              </a:pPr>
              <a:t>4/20/20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928100" y="4932365"/>
            <a:ext cx="173038" cy="415498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6792" eaLnBrk="1" hangingPunct="1">
              <a:spcBef>
                <a:spcPts val="13"/>
              </a:spcBef>
              <a:defRPr sz="900">
                <a:solidFill>
                  <a:srgbClr val="2A3990"/>
                </a:solidFill>
                <a:cs typeface="Arial" panose="020B0604020202020204" pitchFamily="34" charset="0"/>
              </a:defRPr>
            </a:lvl1pPr>
          </a:lstStyle>
          <a:p>
            <a:fld id="{7FEEF9AD-5192-494C-9170-6E33BC3730FC}" type="slidenum">
              <a:rPr lang="ru-RU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142" r:id="rId1"/>
    <p:sldLayoutId id="2147485104" r:id="rId2"/>
    <p:sldLayoutId id="2147485105" r:id="rId3"/>
    <p:sldLayoutId id="2147485106" r:id="rId4"/>
    <p:sldLayoutId id="2147485143" r:id="rId5"/>
    <p:sldLayoutId id="2147485144" r:id="rId6"/>
    <p:sldLayoutId id="2147485171" r:id="rId7"/>
    <p:sldLayoutId id="2147485184" r:id="rId8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5pPr>
      <a:lvl6pPr marL="456968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6pPr>
      <a:lvl7pPr marL="913936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7pPr>
      <a:lvl8pPr marL="1370905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8pPr>
      <a:lvl9pPr marL="1827872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9pPr>
    </p:titleStyle>
    <p:bodyStyle>
      <a:lvl1pPr marL="342728" indent="-342728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6968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3936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0905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7872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4839">
        <a:defRPr>
          <a:latin typeface="+mn-lt"/>
          <a:ea typeface="+mn-ea"/>
          <a:cs typeface="+mn-cs"/>
        </a:defRPr>
      </a:lvl6pPr>
      <a:lvl7pPr marL="2741808">
        <a:defRPr>
          <a:latin typeface="+mn-lt"/>
          <a:ea typeface="+mn-ea"/>
          <a:cs typeface="+mn-cs"/>
        </a:defRPr>
      </a:lvl7pPr>
      <a:lvl8pPr marL="3198773">
        <a:defRPr>
          <a:latin typeface="+mn-lt"/>
          <a:ea typeface="+mn-ea"/>
          <a:cs typeface="+mn-cs"/>
        </a:defRPr>
      </a:lvl8pPr>
      <a:lvl9pPr marL="3655743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6968">
        <a:defRPr>
          <a:latin typeface="+mn-lt"/>
          <a:ea typeface="+mn-ea"/>
          <a:cs typeface="+mn-cs"/>
        </a:defRPr>
      </a:lvl2pPr>
      <a:lvl3pPr marL="913936">
        <a:defRPr>
          <a:latin typeface="+mn-lt"/>
          <a:ea typeface="+mn-ea"/>
          <a:cs typeface="+mn-cs"/>
        </a:defRPr>
      </a:lvl3pPr>
      <a:lvl4pPr marL="1370905">
        <a:defRPr>
          <a:latin typeface="+mn-lt"/>
          <a:ea typeface="+mn-ea"/>
          <a:cs typeface="+mn-cs"/>
        </a:defRPr>
      </a:lvl4pPr>
      <a:lvl5pPr marL="1827872">
        <a:defRPr>
          <a:latin typeface="+mn-lt"/>
          <a:ea typeface="+mn-ea"/>
          <a:cs typeface="+mn-cs"/>
        </a:defRPr>
      </a:lvl5pPr>
      <a:lvl6pPr marL="2284839">
        <a:defRPr>
          <a:latin typeface="+mn-lt"/>
          <a:ea typeface="+mn-ea"/>
          <a:cs typeface="+mn-cs"/>
        </a:defRPr>
      </a:lvl6pPr>
      <a:lvl7pPr marL="2741808">
        <a:defRPr>
          <a:latin typeface="+mn-lt"/>
          <a:ea typeface="+mn-ea"/>
          <a:cs typeface="+mn-cs"/>
        </a:defRPr>
      </a:lvl7pPr>
      <a:lvl8pPr marL="3198773">
        <a:defRPr>
          <a:latin typeface="+mn-lt"/>
          <a:ea typeface="+mn-ea"/>
          <a:cs typeface="+mn-cs"/>
        </a:defRPr>
      </a:lvl8pPr>
      <a:lvl9pPr marL="3655743">
        <a:defRPr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5107" r:id="rId1"/>
    <p:sldLayoutId id="2147485108" r:id="rId2"/>
    <p:sldLayoutId id="2147485109" r:id="rId3"/>
    <p:sldLayoutId id="2147485110" r:id="rId4"/>
    <p:sldLayoutId id="2147485146" r:id="rId5"/>
    <p:sldLayoutId id="2147485111" r:id="rId6"/>
    <p:sldLayoutId id="2147485112" r:id="rId7"/>
    <p:sldLayoutId id="2147485113" r:id="rId8"/>
    <p:sldLayoutId id="2147485114" r:id="rId9"/>
    <p:sldLayoutId id="2147485147" r:id="rId10"/>
    <p:sldLayoutId id="2147485115" r:id="rId11"/>
    <p:sldLayoutId id="2147485148" r:id="rId12"/>
    <p:sldLayoutId id="2147485116" r:id="rId13"/>
    <p:sldLayoutId id="2147485149" r:id="rId14"/>
  </p:sldLayoutIdLst>
  <p:hf hdr="0" ftr="0" dt="0"/>
  <p:txStyles>
    <p:titleStyle>
      <a:lvl1pPr algn="l" defTabSz="6854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Arial Unicode MS"/>
        </a:defRPr>
      </a:lvl1pPr>
      <a:lvl2pPr algn="l" defTabSz="6854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2pPr>
      <a:lvl3pPr algn="l" defTabSz="6854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3pPr>
      <a:lvl4pPr algn="l" defTabSz="6854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4pPr>
      <a:lvl5pPr algn="l" defTabSz="6854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5pPr>
      <a:lvl6pPr marL="456968" algn="l" defTabSz="68545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6pPr>
      <a:lvl7pPr marL="913936" algn="l" defTabSz="68545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7pPr>
      <a:lvl8pPr marL="1370905" algn="l" defTabSz="68545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8pPr>
      <a:lvl9pPr marL="1827872" algn="l" defTabSz="68545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9pPr>
    </p:titleStyle>
    <p:bodyStyle>
      <a:lvl1pPr marL="171364" indent="-171364" algn="l" defTabSz="685450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Arial Unicode MS"/>
        </a:defRPr>
      </a:lvl1pPr>
      <a:lvl2pPr marL="514089" indent="-171364" algn="l" defTabSz="68545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Arial Unicode MS"/>
        </a:defRPr>
      </a:lvl2pPr>
      <a:lvl3pPr marL="856814" indent="-171364" algn="l" defTabSz="68545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Arial Unicode MS"/>
        </a:defRPr>
      </a:lvl3pPr>
      <a:lvl4pPr marL="1199541" indent="-171364" algn="l" defTabSz="68545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Arial Unicode MS"/>
        </a:defRPr>
      </a:lvl4pPr>
      <a:lvl5pPr marL="1542265" indent="-171364" algn="l" defTabSz="68545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Arial Unicode MS"/>
        </a:defRPr>
      </a:lvl5pPr>
      <a:lvl6pPr marL="1884992" indent="-171364" algn="l" defTabSz="6854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7717" indent="-171364" algn="l" defTabSz="6854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0444" indent="-171364" algn="l" defTabSz="6854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3169" indent="-171364" algn="l" defTabSz="6854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728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450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178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0905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3630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356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080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1808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5117" r:id="rId1"/>
    <p:sldLayoutId id="2147485118" r:id="rId2"/>
    <p:sldLayoutId id="2147485151" r:id="rId3"/>
    <p:sldLayoutId id="2147485152" r:id="rId4"/>
    <p:sldLayoutId id="2147485119" r:id="rId5"/>
    <p:sldLayoutId id="2147485153" r:id="rId6"/>
    <p:sldLayoutId id="2147485120" r:id="rId7"/>
    <p:sldLayoutId id="2147485154" r:id="rId8"/>
  </p:sldLayoutIdLst>
  <p:hf hdr="0" ftr="0" dt="0"/>
  <p:txStyles>
    <p:titleStyle>
      <a:lvl1pPr algn="l" defTabSz="6854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Arial Unicode MS"/>
        </a:defRPr>
      </a:lvl1pPr>
      <a:lvl2pPr algn="l" defTabSz="6854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2pPr>
      <a:lvl3pPr algn="l" defTabSz="6854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3pPr>
      <a:lvl4pPr algn="l" defTabSz="6854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4pPr>
      <a:lvl5pPr algn="l" defTabSz="6854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5pPr>
      <a:lvl6pPr marL="456968" algn="l" defTabSz="68545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6pPr>
      <a:lvl7pPr marL="913936" algn="l" defTabSz="68545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7pPr>
      <a:lvl8pPr marL="1370905" algn="l" defTabSz="68545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8pPr>
      <a:lvl9pPr marL="1827872" algn="l" defTabSz="68545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9pPr>
    </p:titleStyle>
    <p:bodyStyle>
      <a:lvl1pPr marL="171364" indent="-171364" algn="l" defTabSz="685450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Arial Unicode MS"/>
        </a:defRPr>
      </a:lvl1pPr>
      <a:lvl2pPr marL="514089" indent="-171364" algn="l" defTabSz="68545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Arial Unicode MS"/>
        </a:defRPr>
      </a:lvl2pPr>
      <a:lvl3pPr marL="856814" indent="-171364" algn="l" defTabSz="68545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Arial Unicode MS"/>
        </a:defRPr>
      </a:lvl3pPr>
      <a:lvl4pPr marL="1199541" indent="-171364" algn="l" defTabSz="68545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Arial Unicode MS"/>
        </a:defRPr>
      </a:lvl4pPr>
      <a:lvl5pPr marL="1542265" indent="-171364" algn="l" defTabSz="68545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Arial Unicode MS"/>
        </a:defRPr>
      </a:lvl5pPr>
      <a:lvl6pPr marL="1884992" indent="-171364" algn="l" defTabSz="6854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7717" indent="-171364" algn="l" defTabSz="6854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0444" indent="-171364" algn="l" defTabSz="6854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3169" indent="-171364" algn="l" defTabSz="6854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728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450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178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0905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3630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356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080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1808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5121" r:id="rId1"/>
    <p:sldLayoutId id="2147485122" r:id="rId2"/>
    <p:sldLayoutId id="2147485123" r:id="rId3"/>
    <p:sldLayoutId id="2147485124" r:id="rId4"/>
    <p:sldLayoutId id="2147485155" r:id="rId5"/>
    <p:sldLayoutId id="2147485125" r:id="rId6"/>
    <p:sldLayoutId id="2147485126" r:id="rId7"/>
    <p:sldLayoutId id="2147485127" r:id="rId8"/>
    <p:sldLayoutId id="2147485128" r:id="rId9"/>
    <p:sldLayoutId id="2147485156" r:id="rId10"/>
    <p:sldLayoutId id="2147485129" r:id="rId11"/>
    <p:sldLayoutId id="2147485157" r:id="rId12"/>
    <p:sldLayoutId id="2147485130" r:id="rId13"/>
    <p:sldLayoutId id="2147485158" r:id="rId14"/>
  </p:sldLayoutIdLst>
  <p:hf hdr="0" ftr="0" dt="0"/>
  <p:txStyles>
    <p:titleStyle>
      <a:lvl1pPr algn="l" defTabSz="6854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Arial Unicode MS"/>
        </a:defRPr>
      </a:lvl1pPr>
      <a:lvl2pPr algn="l" defTabSz="6854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2pPr>
      <a:lvl3pPr algn="l" defTabSz="6854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3pPr>
      <a:lvl4pPr algn="l" defTabSz="6854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4pPr>
      <a:lvl5pPr algn="l" defTabSz="6854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5pPr>
      <a:lvl6pPr marL="456968" algn="l" defTabSz="68545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6pPr>
      <a:lvl7pPr marL="913936" algn="l" defTabSz="68545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7pPr>
      <a:lvl8pPr marL="1370905" algn="l" defTabSz="68545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8pPr>
      <a:lvl9pPr marL="1827872" algn="l" defTabSz="68545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9pPr>
    </p:titleStyle>
    <p:bodyStyle>
      <a:lvl1pPr marL="171364" indent="-171364" algn="l" defTabSz="685450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Arial Unicode MS"/>
        </a:defRPr>
      </a:lvl1pPr>
      <a:lvl2pPr marL="514089" indent="-171364" algn="l" defTabSz="68545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Arial Unicode MS"/>
        </a:defRPr>
      </a:lvl2pPr>
      <a:lvl3pPr marL="856814" indent="-171364" algn="l" defTabSz="68545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Arial Unicode MS"/>
        </a:defRPr>
      </a:lvl3pPr>
      <a:lvl4pPr marL="1199541" indent="-171364" algn="l" defTabSz="68545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Arial Unicode MS"/>
        </a:defRPr>
      </a:lvl4pPr>
      <a:lvl5pPr marL="1542265" indent="-171364" algn="l" defTabSz="68545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Arial Unicode MS"/>
        </a:defRPr>
      </a:lvl5pPr>
      <a:lvl6pPr marL="1884992" indent="-171364" algn="l" defTabSz="6854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7717" indent="-171364" algn="l" defTabSz="6854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0444" indent="-171364" algn="l" defTabSz="6854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3169" indent="-171364" algn="l" defTabSz="6854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728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450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178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0905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3630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356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080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1808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5131" r:id="rId1"/>
    <p:sldLayoutId id="2147485132" r:id="rId2"/>
    <p:sldLayoutId id="2147485159" r:id="rId3"/>
    <p:sldLayoutId id="2147485160" r:id="rId4"/>
    <p:sldLayoutId id="2147485133" r:id="rId5"/>
    <p:sldLayoutId id="2147485161" r:id="rId6"/>
    <p:sldLayoutId id="2147485134" r:id="rId7"/>
    <p:sldLayoutId id="2147485162" r:id="rId8"/>
  </p:sldLayoutIdLst>
  <p:hf hdr="0" ftr="0" dt="0"/>
  <p:txStyles>
    <p:titleStyle>
      <a:lvl1pPr algn="l" defTabSz="6854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Arial Unicode MS"/>
        </a:defRPr>
      </a:lvl1pPr>
      <a:lvl2pPr algn="l" defTabSz="6854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2pPr>
      <a:lvl3pPr algn="l" defTabSz="6854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3pPr>
      <a:lvl4pPr algn="l" defTabSz="6854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4pPr>
      <a:lvl5pPr algn="l" defTabSz="6854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5pPr>
      <a:lvl6pPr marL="456968" algn="l" defTabSz="68545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6pPr>
      <a:lvl7pPr marL="913936" algn="l" defTabSz="68545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7pPr>
      <a:lvl8pPr marL="1370905" algn="l" defTabSz="68545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8pPr>
      <a:lvl9pPr marL="1827872" algn="l" defTabSz="68545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9pPr>
    </p:titleStyle>
    <p:bodyStyle>
      <a:lvl1pPr marL="171364" indent="-171364" algn="l" defTabSz="685450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Arial Unicode MS"/>
        </a:defRPr>
      </a:lvl1pPr>
      <a:lvl2pPr marL="514089" indent="-171364" algn="l" defTabSz="68545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Arial Unicode MS"/>
        </a:defRPr>
      </a:lvl2pPr>
      <a:lvl3pPr marL="856814" indent="-171364" algn="l" defTabSz="68545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Arial Unicode MS"/>
        </a:defRPr>
      </a:lvl3pPr>
      <a:lvl4pPr marL="1199541" indent="-171364" algn="l" defTabSz="68545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Arial Unicode MS"/>
        </a:defRPr>
      </a:lvl4pPr>
      <a:lvl5pPr marL="1542265" indent="-171364" algn="l" defTabSz="68545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Arial Unicode MS"/>
        </a:defRPr>
      </a:lvl5pPr>
      <a:lvl6pPr marL="1884992" indent="-171364" algn="l" defTabSz="6854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7717" indent="-171364" algn="l" defTabSz="6854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0444" indent="-171364" algn="l" defTabSz="6854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3169" indent="-171364" algn="l" defTabSz="6854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728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450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178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0905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3630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356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080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1808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Holder 2"/>
          <p:cNvSpPr>
            <a:spLocks noGrp="1"/>
          </p:cNvSpPr>
          <p:nvPr>
            <p:ph type="title"/>
          </p:nvPr>
        </p:nvSpPr>
        <p:spPr bwMode="auto">
          <a:xfrm>
            <a:off x="220663" y="930278"/>
            <a:ext cx="780891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endParaRPr lang="en-US" altLang="en-US"/>
          </a:p>
        </p:txBody>
      </p:sp>
      <p:sp>
        <p:nvSpPr>
          <p:cNvPr id="2051" name="Holder 3"/>
          <p:cNvSpPr>
            <a:spLocks noGrp="1"/>
          </p:cNvSpPr>
          <p:nvPr>
            <p:ph type="body" idx="1"/>
          </p:nvPr>
        </p:nvSpPr>
        <p:spPr bwMode="auto">
          <a:xfrm>
            <a:off x="1101725" y="2395542"/>
            <a:ext cx="748823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endParaRPr lang="en-US" altLang="en-US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325" y="4783138"/>
            <a:ext cx="2927350" cy="2169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prstClr val="black">
                    <a:tint val="75000"/>
                  </a:prst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4783138"/>
            <a:ext cx="2103438" cy="2169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prstClr val="black">
                    <a:tint val="75000"/>
                  </a:prst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13F503AD-7034-4CF2-AAEC-9137BC448165}" type="datetime1">
              <a:rPr lang="en-US" smtClean="0"/>
              <a:pPr>
                <a:defRPr/>
              </a:pPr>
              <a:t>4/20/20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928100" y="4932365"/>
            <a:ext cx="173038" cy="415498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6792" eaLnBrk="1" hangingPunct="1">
              <a:spcBef>
                <a:spcPts val="13"/>
              </a:spcBef>
              <a:defRPr sz="900">
                <a:solidFill>
                  <a:srgbClr val="2A3990"/>
                </a:solidFill>
                <a:cs typeface="Arial" panose="020B0604020202020204" pitchFamily="34" charset="0"/>
              </a:defRPr>
            </a:lvl1pPr>
          </a:lstStyle>
          <a:p>
            <a:fld id="{58576DB4-1FB0-4C5A-87DD-CCBBE24388D8}" type="slidenum">
              <a:rPr lang="ru-RU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164" r:id="rId1"/>
    <p:sldLayoutId id="2147485135" r:id="rId2"/>
    <p:sldLayoutId id="2147485136" r:id="rId3"/>
    <p:sldLayoutId id="2147485137" r:id="rId4"/>
    <p:sldLayoutId id="2147485165" r:id="rId5"/>
    <p:sldLayoutId id="2147485166" r:id="rId6"/>
    <p:sldLayoutId id="2147485170" r:id="rId7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5pPr>
      <a:lvl6pPr marL="456968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6pPr>
      <a:lvl7pPr marL="913936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7pPr>
      <a:lvl8pPr marL="1370905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8pPr>
      <a:lvl9pPr marL="1827872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9pPr>
    </p:titleStyle>
    <p:bodyStyle>
      <a:lvl1pPr marL="342728" indent="-342728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6968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3936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0905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7872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4839">
        <a:defRPr>
          <a:latin typeface="+mn-lt"/>
          <a:ea typeface="+mn-ea"/>
          <a:cs typeface="+mn-cs"/>
        </a:defRPr>
      </a:lvl6pPr>
      <a:lvl7pPr marL="2741808">
        <a:defRPr>
          <a:latin typeface="+mn-lt"/>
          <a:ea typeface="+mn-ea"/>
          <a:cs typeface="+mn-cs"/>
        </a:defRPr>
      </a:lvl7pPr>
      <a:lvl8pPr marL="3198773">
        <a:defRPr>
          <a:latin typeface="+mn-lt"/>
          <a:ea typeface="+mn-ea"/>
          <a:cs typeface="+mn-cs"/>
        </a:defRPr>
      </a:lvl8pPr>
      <a:lvl9pPr marL="3655743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6968">
        <a:defRPr>
          <a:latin typeface="+mn-lt"/>
          <a:ea typeface="+mn-ea"/>
          <a:cs typeface="+mn-cs"/>
        </a:defRPr>
      </a:lvl2pPr>
      <a:lvl3pPr marL="913936">
        <a:defRPr>
          <a:latin typeface="+mn-lt"/>
          <a:ea typeface="+mn-ea"/>
          <a:cs typeface="+mn-cs"/>
        </a:defRPr>
      </a:lvl3pPr>
      <a:lvl4pPr marL="1370905">
        <a:defRPr>
          <a:latin typeface="+mn-lt"/>
          <a:ea typeface="+mn-ea"/>
          <a:cs typeface="+mn-cs"/>
        </a:defRPr>
      </a:lvl4pPr>
      <a:lvl5pPr marL="1827872">
        <a:defRPr>
          <a:latin typeface="+mn-lt"/>
          <a:ea typeface="+mn-ea"/>
          <a:cs typeface="+mn-cs"/>
        </a:defRPr>
      </a:lvl5pPr>
      <a:lvl6pPr marL="2284839">
        <a:defRPr>
          <a:latin typeface="+mn-lt"/>
          <a:ea typeface="+mn-ea"/>
          <a:cs typeface="+mn-cs"/>
        </a:defRPr>
      </a:lvl6pPr>
      <a:lvl7pPr marL="2741808">
        <a:defRPr>
          <a:latin typeface="+mn-lt"/>
          <a:ea typeface="+mn-ea"/>
          <a:cs typeface="+mn-cs"/>
        </a:defRPr>
      </a:lvl7pPr>
      <a:lvl8pPr marL="3198773">
        <a:defRPr>
          <a:latin typeface="+mn-lt"/>
          <a:ea typeface="+mn-ea"/>
          <a:cs typeface="+mn-cs"/>
        </a:defRPr>
      </a:lvl8pPr>
      <a:lvl9pPr marL="3655743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2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Relationship Id="rId5" Type="http://schemas.microsoft.com/office/2007/relationships/hdphoto" Target="../media/hdphoto1.wdp"/><Relationship Id="rId4" Type="http://schemas.openxmlformats.org/officeDocument/2006/relationships/image" Target="../media/image3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3.jpeg"/><Relationship Id="rId5" Type="http://schemas.openxmlformats.org/officeDocument/2006/relationships/image" Target="../media/image12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tags" Target="../tags/tag3.xml"/><Relationship Id="rId7" Type="http://schemas.openxmlformats.org/officeDocument/2006/relationships/image" Target="../media/image27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6.png"/><Relationship Id="rId11" Type="http://schemas.openxmlformats.org/officeDocument/2006/relationships/image" Target="../media/image30.png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29.pn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A3BCC026-D41F-4484-AC63-1950436B9D32}"/>
              </a:ext>
            </a:extLst>
          </p:cNvPr>
          <p:cNvSpPr/>
          <p:nvPr/>
        </p:nvSpPr>
        <p:spPr>
          <a:xfrm>
            <a:off x="-3696" y="0"/>
            <a:ext cx="9147697" cy="3637344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4" tIns="45696" rIns="91394" bIns="45696"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0" name="TextBox 4">
            <a:extLst>
              <a:ext uri="{FF2B5EF4-FFF2-40B4-BE49-F238E27FC236}">
                <a16:creationId xmlns:a16="http://schemas.microsoft.com/office/drawing/2014/main" id="{F2E35004-21C2-453D-93BC-139518D5F0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-3696" y="3807244"/>
            <a:ext cx="9147697" cy="8309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394" tIns="45696" rIns="91394" bIns="45696"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2400" b="1" dirty="0" smtClean="0">
                <a:solidFill>
                  <a:srgbClr val="194B75"/>
                </a:solidFill>
                <a:latin typeface="Arial" panose="020B0604020202020204" pitchFamily="34" charset="0"/>
                <a:ea typeface="Tahoma" pitchFamily="34" charset="0"/>
              </a:rPr>
              <a:t>«</a:t>
            </a:r>
            <a:r>
              <a:rPr lang="ru-RU" altLang="ru-RU" sz="2400" b="1" dirty="0">
                <a:solidFill>
                  <a:srgbClr val="194B75"/>
                </a:solidFill>
                <a:latin typeface="Arial" panose="020B0604020202020204" pitchFamily="34" charset="0"/>
                <a:ea typeface="Tahoma" pitchFamily="34" charset="0"/>
              </a:rPr>
              <a:t>АУЫЛ – ЕЛ БЕСІГІ</a:t>
            </a:r>
            <a:r>
              <a:rPr lang="ru-RU" altLang="ru-RU" sz="2400" b="1" dirty="0" smtClean="0">
                <a:solidFill>
                  <a:srgbClr val="194B75"/>
                </a:solidFill>
                <a:latin typeface="Arial" panose="020B0604020202020204" pitchFamily="34" charset="0"/>
                <a:ea typeface="Tahoma" pitchFamily="34" charset="0"/>
              </a:rPr>
              <a:t>»</a:t>
            </a:r>
          </a:p>
          <a:p>
            <a:pPr algn="ctr"/>
            <a:r>
              <a:rPr lang="ru-RU" altLang="ru-RU" sz="2400" b="1" dirty="0" smtClean="0">
                <a:solidFill>
                  <a:srgbClr val="194B75"/>
                </a:solidFill>
                <a:latin typeface="Arial" panose="020B0604020202020204" pitchFamily="34" charset="0"/>
                <a:ea typeface="Tahoma" pitchFamily="34" charset="0"/>
              </a:rPr>
              <a:t>ЖОБАСЫН ІСКЕ АСЫРУ ТУРАЛЫ </a:t>
            </a:r>
            <a:endParaRPr lang="ru-RU" altLang="ru-RU" sz="2400" b="1" dirty="0">
              <a:solidFill>
                <a:srgbClr val="194B75"/>
              </a:solidFill>
              <a:latin typeface="Arial" panose="020B0604020202020204" pitchFamily="34" charset="0"/>
              <a:ea typeface="Tahoma" pitchFamily="34" charset="0"/>
            </a:endParaRPr>
          </a:p>
        </p:txBody>
      </p:sp>
      <p:pic>
        <p:nvPicPr>
          <p:cNvPr id="101" name="Picture 744" descr="ÐÐ°ÑÑÐ¸Ð½ÐºÐ¸ Ð¿Ð¾ Ð·Ð°Ð¿ÑÐ¾ÑÑ Ð³ÐµÑÐ± ÐºÐ°Ð·Ð°ÑÑÑÐ°Ð½Ð° png">
            <a:extLst>
              <a:ext uri="{FF2B5EF4-FFF2-40B4-BE49-F238E27FC236}">
                <a16:creationId xmlns:a16="http://schemas.microsoft.com/office/drawing/2014/main" id="{CB44B674-4B83-437E-9D27-4646BEA5E009}"/>
              </a:ext>
            </a:extLst>
          </p:cNvPr>
          <p:cNvPicPr>
            <a:picLocks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615799" y="983712"/>
            <a:ext cx="1912400" cy="1915211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2" name="Группа 101">
            <a:extLst>
              <a:ext uri="{FF2B5EF4-FFF2-40B4-BE49-F238E27FC236}">
                <a16:creationId xmlns:a16="http://schemas.microsoft.com/office/drawing/2014/main" id="{DA116948-7F2A-4BEB-90E2-3ED087441C93}"/>
              </a:ext>
            </a:extLst>
          </p:cNvPr>
          <p:cNvGrpSpPr/>
          <p:nvPr/>
        </p:nvGrpSpPr>
        <p:grpSpPr>
          <a:xfrm>
            <a:off x="5579300" y="1453156"/>
            <a:ext cx="3474376" cy="971552"/>
            <a:chOff x="6913248" y="5262784"/>
            <a:chExt cx="4914893" cy="1295402"/>
          </a:xfrm>
          <a:solidFill>
            <a:schemeClr val="bg1"/>
          </a:solidFill>
        </p:grpSpPr>
        <p:grpSp>
          <p:nvGrpSpPr>
            <p:cNvPr id="103" name="Группа 21">
              <a:extLst>
                <a:ext uri="{FF2B5EF4-FFF2-40B4-BE49-F238E27FC236}">
                  <a16:creationId xmlns:a16="http://schemas.microsoft.com/office/drawing/2014/main" id="{6DA6FBD2-1CFC-4016-81DA-F65FF52614FA}"/>
                </a:ext>
              </a:extLst>
            </p:cNvPr>
            <p:cNvGrpSpPr>
              <a:grpSpLocks/>
            </p:cNvGrpSpPr>
            <p:nvPr/>
          </p:nvGrpSpPr>
          <p:grpSpPr bwMode="auto">
            <a:xfrm rot="16200000">
              <a:off x="7499561" y="4676471"/>
              <a:ext cx="1295402" cy="2468028"/>
              <a:chOff x="464266" y="2731227"/>
              <a:chExt cx="970345" cy="1850028"/>
            </a:xfrm>
            <a:grpFill/>
          </p:grpSpPr>
          <p:sp>
            <p:nvSpPr>
              <p:cNvPr id="113" name="Graphic 1">
                <a:extLst>
                  <a:ext uri="{FF2B5EF4-FFF2-40B4-BE49-F238E27FC236}">
                    <a16:creationId xmlns:a16="http://schemas.microsoft.com/office/drawing/2014/main" id="{CF1CFA52-0940-4A9F-85CD-0C0933F335E2}"/>
                  </a:ext>
                </a:extLst>
              </p:cNvPr>
              <p:cNvSpPr/>
              <p:nvPr/>
            </p:nvSpPr>
            <p:spPr>
              <a:xfrm>
                <a:off x="464266" y="273122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14" name="Graphic 1">
                <a:extLst>
                  <a:ext uri="{FF2B5EF4-FFF2-40B4-BE49-F238E27FC236}">
                    <a16:creationId xmlns:a16="http://schemas.microsoft.com/office/drawing/2014/main" id="{68911975-B30B-4ABE-BFF8-BD381CE31403}"/>
                  </a:ext>
                </a:extLst>
              </p:cNvPr>
              <p:cNvSpPr/>
              <p:nvPr/>
            </p:nvSpPr>
            <p:spPr>
              <a:xfrm>
                <a:off x="949438" y="273122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15" name="Graphic 1">
                <a:extLst>
                  <a:ext uri="{FF2B5EF4-FFF2-40B4-BE49-F238E27FC236}">
                    <a16:creationId xmlns:a16="http://schemas.microsoft.com/office/drawing/2014/main" id="{66BB04E9-6DFD-4E4A-BF02-9BBA66AE98DE}"/>
                  </a:ext>
                </a:extLst>
              </p:cNvPr>
              <p:cNvSpPr/>
              <p:nvPr/>
            </p:nvSpPr>
            <p:spPr>
              <a:xfrm>
                <a:off x="464266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16" name="Graphic 1">
                <a:extLst>
                  <a:ext uri="{FF2B5EF4-FFF2-40B4-BE49-F238E27FC236}">
                    <a16:creationId xmlns:a16="http://schemas.microsoft.com/office/drawing/2014/main" id="{454A54D9-C5E7-40C9-97DD-11B04BC28CA9}"/>
                  </a:ext>
                </a:extLst>
              </p:cNvPr>
              <p:cNvSpPr/>
              <p:nvPr/>
            </p:nvSpPr>
            <p:spPr>
              <a:xfrm>
                <a:off x="949439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17" name="Graphic 1">
                <a:extLst>
                  <a:ext uri="{FF2B5EF4-FFF2-40B4-BE49-F238E27FC236}">
                    <a16:creationId xmlns:a16="http://schemas.microsoft.com/office/drawing/2014/main" id="{DDBF040B-545E-4188-B9A1-1AB981819D88}"/>
                  </a:ext>
                </a:extLst>
              </p:cNvPr>
              <p:cNvSpPr/>
              <p:nvPr/>
            </p:nvSpPr>
            <p:spPr>
              <a:xfrm>
                <a:off x="464266" y="3648308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18" name="Graphic 1">
                <a:extLst>
                  <a:ext uri="{FF2B5EF4-FFF2-40B4-BE49-F238E27FC236}">
                    <a16:creationId xmlns:a16="http://schemas.microsoft.com/office/drawing/2014/main" id="{A4E9466B-BF7F-478D-9CC8-E0F336B6F944}"/>
                  </a:ext>
                </a:extLst>
              </p:cNvPr>
              <p:cNvSpPr/>
              <p:nvPr/>
            </p:nvSpPr>
            <p:spPr>
              <a:xfrm>
                <a:off x="949437" y="3648309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19" name="Graphic 1">
                <a:extLst>
                  <a:ext uri="{FF2B5EF4-FFF2-40B4-BE49-F238E27FC236}">
                    <a16:creationId xmlns:a16="http://schemas.microsoft.com/office/drawing/2014/main" id="{53E52294-153A-4FBD-9112-25104E58F069}"/>
                  </a:ext>
                </a:extLst>
              </p:cNvPr>
              <p:cNvSpPr/>
              <p:nvPr/>
            </p:nvSpPr>
            <p:spPr>
              <a:xfrm>
                <a:off x="464266" y="410684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20" name="Graphic 1">
                <a:extLst>
                  <a:ext uri="{FF2B5EF4-FFF2-40B4-BE49-F238E27FC236}">
                    <a16:creationId xmlns:a16="http://schemas.microsoft.com/office/drawing/2014/main" id="{E8EC8002-92ED-416F-83AA-733AF51BD569}"/>
                  </a:ext>
                </a:extLst>
              </p:cNvPr>
              <p:cNvSpPr/>
              <p:nvPr/>
            </p:nvSpPr>
            <p:spPr>
              <a:xfrm>
                <a:off x="949437" y="410684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104" name="Группа 21">
              <a:extLst>
                <a:ext uri="{FF2B5EF4-FFF2-40B4-BE49-F238E27FC236}">
                  <a16:creationId xmlns:a16="http://schemas.microsoft.com/office/drawing/2014/main" id="{A59F9D55-0203-4818-8036-960239665DB4}"/>
                </a:ext>
              </a:extLst>
            </p:cNvPr>
            <p:cNvGrpSpPr>
              <a:grpSpLocks/>
            </p:cNvGrpSpPr>
            <p:nvPr/>
          </p:nvGrpSpPr>
          <p:grpSpPr bwMode="auto">
            <a:xfrm rot="16200000">
              <a:off x="9946426" y="4676471"/>
              <a:ext cx="1295400" cy="2468030"/>
              <a:chOff x="464266" y="2731226"/>
              <a:chExt cx="970344" cy="1850029"/>
            </a:xfrm>
            <a:grpFill/>
          </p:grpSpPr>
          <p:sp>
            <p:nvSpPr>
              <p:cNvPr id="105" name="Graphic 1">
                <a:extLst>
                  <a:ext uri="{FF2B5EF4-FFF2-40B4-BE49-F238E27FC236}">
                    <a16:creationId xmlns:a16="http://schemas.microsoft.com/office/drawing/2014/main" id="{B32ED6C2-7ED8-4E58-9BFA-9575357E01DE}"/>
                  </a:ext>
                </a:extLst>
              </p:cNvPr>
              <p:cNvSpPr/>
              <p:nvPr/>
            </p:nvSpPr>
            <p:spPr>
              <a:xfrm>
                <a:off x="464266" y="2731226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6" name="Graphic 1">
                <a:extLst>
                  <a:ext uri="{FF2B5EF4-FFF2-40B4-BE49-F238E27FC236}">
                    <a16:creationId xmlns:a16="http://schemas.microsoft.com/office/drawing/2014/main" id="{AD862E38-73BA-41AD-B197-95363DEBD330}"/>
                  </a:ext>
                </a:extLst>
              </p:cNvPr>
              <p:cNvSpPr/>
              <p:nvPr/>
            </p:nvSpPr>
            <p:spPr>
              <a:xfrm>
                <a:off x="949438" y="2731227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7" name="Graphic 1">
                <a:extLst>
                  <a:ext uri="{FF2B5EF4-FFF2-40B4-BE49-F238E27FC236}">
                    <a16:creationId xmlns:a16="http://schemas.microsoft.com/office/drawing/2014/main" id="{CD43CABA-B572-4768-8B21-E9DA8A386897}"/>
                  </a:ext>
                </a:extLst>
              </p:cNvPr>
              <p:cNvSpPr/>
              <p:nvPr/>
            </p:nvSpPr>
            <p:spPr>
              <a:xfrm>
                <a:off x="464266" y="318976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8" name="Graphic 1">
                <a:extLst>
                  <a:ext uri="{FF2B5EF4-FFF2-40B4-BE49-F238E27FC236}">
                    <a16:creationId xmlns:a16="http://schemas.microsoft.com/office/drawing/2014/main" id="{DFCCFB9E-796D-45C8-9D4B-7214B5E86446}"/>
                  </a:ext>
                </a:extLst>
              </p:cNvPr>
              <p:cNvSpPr/>
              <p:nvPr/>
            </p:nvSpPr>
            <p:spPr>
              <a:xfrm>
                <a:off x="949438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9" name="Graphic 1">
                <a:extLst>
                  <a:ext uri="{FF2B5EF4-FFF2-40B4-BE49-F238E27FC236}">
                    <a16:creationId xmlns:a16="http://schemas.microsoft.com/office/drawing/2014/main" id="{17114EF9-A875-4D96-A350-F8A76F601F60}"/>
                  </a:ext>
                </a:extLst>
              </p:cNvPr>
              <p:cNvSpPr/>
              <p:nvPr/>
            </p:nvSpPr>
            <p:spPr>
              <a:xfrm>
                <a:off x="464266" y="3648309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10" name="Graphic 1">
                <a:extLst>
                  <a:ext uri="{FF2B5EF4-FFF2-40B4-BE49-F238E27FC236}">
                    <a16:creationId xmlns:a16="http://schemas.microsoft.com/office/drawing/2014/main" id="{337B3D36-A053-47D4-8BD6-5838F3A8B17E}"/>
                  </a:ext>
                </a:extLst>
              </p:cNvPr>
              <p:cNvSpPr/>
              <p:nvPr/>
            </p:nvSpPr>
            <p:spPr>
              <a:xfrm>
                <a:off x="949438" y="3648309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11" name="Graphic 1">
                <a:extLst>
                  <a:ext uri="{FF2B5EF4-FFF2-40B4-BE49-F238E27FC236}">
                    <a16:creationId xmlns:a16="http://schemas.microsoft.com/office/drawing/2014/main" id="{AAF7F6D4-6267-4CC6-9CDA-14B19BF9B8C3}"/>
                  </a:ext>
                </a:extLst>
              </p:cNvPr>
              <p:cNvSpPr/>
              <p:nvPr/>
            </p:nvSpPr>
            <p:spPr>
              <a:xfrm>
                <a:off x="464266" y="410684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12" name="Graphic 1">
                <a:extLst>
                  <a:ext uri="{FF2B5EF4-FFF2-40B4-BE49-F238E27FC236}">
                    <a16:creationId xmlns:a16="http://schemas.microsoft.com/office/drawing/2014/main" id="{5EE65ED5-A044-480B-9C94-A45F400316EF}"/>
                  </a:ext>
                </a:extLst>
              </p:cNvPr>
              <p:cNvSpPr/>
              <p:nvPr/>
            </p:nvSpPr>
            <p:spPr>
              <a:xfrm>
                <a:off x="949437" y="410684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140" name="Группа 139">
            <a:extLst>
              <a:ext uri="{FF2B5EF4-FFF2-40B4-BE49-F238E27FC236}">
                <a16:creationId xmlns:a16="http://schemas.microsoft.com/office/drawing/2014/main" id="{FB7E02FC-7317-4ED5-A659-C5FCCDECC0B2}"/>
              </a:ext>
            </a:extLst>
          </p:cNvPr>
          <p:cNvGrpSpPr/>
          <p:nvPr/>
        </p:nvGrpSpPr>
        <p:grpSpPr>
          <a:xfrm>
            <a:off x="92848" y="1453156"/>
            <a:ext cx="3474376" cy="971552"/>
            <a:chOff x="6913248" y="5262784"/>
            <a:chExt cx="4914893" cy="1295402"/>
          </a:xfrm>
          <a:solidFill>
            <a:schemeClr val="bg1"/>
          </a:solidFill>
        </p:grpSpPr>
        <p:grpSp>
          <p:nvGrpSpPr>
            <p:cNvPr id="141" name="Группа 21">
              <a:extLst>
                <a:ext uri="{FF2B5EF4-FFF2-40B4-BE49-F238E27FC236}">
                  <a16:creationId xmlns:a16="http://schemas.microsoft.com/office/drawing/2014/main" id="{FB78115B-C6A5-41E0-932C-34DB86D9E816}"/>
                </a:ext>
              </a:extLst>
            </p:cNvPr>
            <p:cNvGrpSpPr>
              <a:grpSpLocks/>
            </p:cNvGrpSpPr>
            <p:nvPr/>
          </p:nvGrpSpPr>
          <p:grpSpPr bwMode="auto">
            <a:xfrm rot="16200000">
              <a:off x="7499561" y="4676471"/>
              <a:ext cx="1295402" cy="2468028"/>
              <a:chOff x="464266" y="2731227"/>
              <a:chExt cx="970345" cy="1850028"/>
            </a:xfrm>
            <a:grpFill/>
          </p:grpSpPr>
          <p:sp>
            <p:nvSpPr>
              <p:cNvPr id="151" name="Graphic 1">
                <a:extLst>
                  <a:ext uri="{FF2B5EF4-FFF2-40B4-BE49-F238E27FC236}">
                    <a16:creationId xmlns:a16="http://schemas.microsoft.com/office/drawing/2014/main" id="{E90D109E-C172-40AE-BFF7-646FF506EE35}"/>
                  </a:ext>
                </a:extLst>
              </p:cNvPr>
              <p:cNvSpPr/>
              <p:nvPr/>
            </p:nvSpPr>
            <p:spPr>
              <a:xfrm>
                <a:off x="464266" y="273122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52" name="Graphic 1">
                <a:extLst>
                  <a:ext uri="{FF2B5EF4-FFF2-40B4-BE49-F238E27FC236}">
                    <a16:creationId xmlns:a16="http://schemas.microsoft.com/office/drawing/2014/main" id="{AFE94FE4-BB04-491E-8783-4E416C2D1168}"/>
                  </a:ext>
                </a:extLst>
              </p:cNvPr>
              <p:cNvSpPr/>
              <p:nvPr/>
            </p:nvSpPr>
            <p:spPr>
              <a:xfrm>
                <a:off x="949438" y="273122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53" name="Graphic 1">
                <a:extLst>
                  <a:ext uri="{FF2B5EF4-FFF2-40B4-BE49-F238E27FC236}">
                    <a16:creationId xmlns:a16="http://schemas.microsoft.com/office/drawing/2014/main" id="{4D7FE1F4-DA79-4BEA-B68D-8ED6A3859731}"/>
                  </a:ext>
                </a:extLst>
              </p:cNvPr>
              <p:cNvSpPr/>
              <p:nvPr/>
            </p:nvSpPr>
            <p:spPr>
              <a:xfrm>
                <a:off x="464266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54" name="Graphic 1">
                <a:extLst>
                  <a:ext uri="{FF2B5EF4-FFF2-40B4-BE49-F238E27FC236}">
                    <a16:creationId xmlns:a16="http://schemas.microsoft.com/office/drawing/2014/main" id="{810D097D-B676-4253-A13E-CF1825774DEC}"/>
                  </a:ext>
                </a:extLst>
              </p:cNvPr>
              <p:cNvSpPr/>
              <p:nvPr/>
            </p:nvSpPr>
            <p:spPr>
              <a:xfrm>
                <a:off x="949439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55" name="Graphic 1">
                <a:extLst>
                  <a:ext uri="{FF2B5EF4-FFF2-40B4-BE49-F238E27FC236}">
                    <a16:creationId xmlns:a16="http://schemas.microsoft.com/office/drawing/2014/main" id="{2DC0A96A-72C3-4514-A708-EF2CE4C2B294}"/>
                  </a:ext>
                </a:extLst>
              </p:cNvPr>
              <p:cNvSpPr/>
              <p:nvPr/>
            </p:nvSpPr>
            <p:spPr>
              <a:xfrm>
                <a:off x="464266" y="3648308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56" name="Graphic 1">
                <a:extLst>
                  <a:ext uri="{FF2B5EF4-FFF2-40B4-BE49-F238E27FC236}">
                    <a16:creationId xmlns:a16="http://schemas.microsoft.com/office/drawing/2014/main" id="{9D10D7EB-ACCA-48A7-B81A-2B0BABD30BA3}"/>
                  </a:ext>
                </a:extLst>
              </p:cNvPr>
              <p:cNvSpPr/>
              <p:nvPr/>
            </p:nvSpPr>
            <p:spPr>
              <a:xfrm>
                <a:off x="949437" y="3648309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57" name="Graphic 1">
                <a:extLst>
                  <a:ext uri="{FF2B5EF4-FFF2-40B4-BE49-F238E27FC236}">
                    <a16:creationId xmlns:a16="http://schemas.microsoft.com/office/drawing/2014/main" id="{050CC6E2-C821-44D1-A725-CE9080AE55F2}"/>
                  </a:ext>
                </a:extLst>
              </p:cNvPr>
              <p:cNvSpPr/>
              <p:nvPr/>
            </p:nvSpPr>
            <p:spPr>
              <a:xfrm>
                <a:off x="464266" y="410684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58" name="Graphic 1">
                <a:extLst>
                  <a:ext uri="{FF2B5EF4-FFF2-40B4-BE49-F238E27FC236}">
                    <a16:creationId xmlns:a16="http://schemas.microsoft.com/office/drawing/2014/main" id="{44A1BAB2-8262-4B57-A6CD-7D1E72A204E6}"/>
                  </a:ext>
                </a:extLst>
              </p:cNvPr>
              <p:cNvSpPr/>
              <p:nvPr/>
            </p:nvSpPr>
            <p:spPr>
              <a:xfrm>
                <a:off x="949437" y="410684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142" name="Группа 21">
              <a:extLst>
                <a:ext uri="{FF2B5EF4-FFF2-40B4-BE49-F238E27FC236}">
                  <a16:creationId xmlns:a16="http://schemas.microsoft.com/office/drawing/2014/main" id="{6014815E-13DD-442D-9A34-1CADCC0BFB59}"/>
                </a:ext>
              </a:extLst>
            </p:cNvPr>
            <p:cNvGrpSpPr>
              <a:grpSpLocks/>
            </p:cNvGrpSpPr>
            <p:nvPr/>
          </p:nvGrpSpPr>
          <p:grpSpPr bwMode="auto">
            <a:xfrm rot="16200000">
              <a:off x="9946426" y="4676471"/>
              <a:ext cx="1295400" cy="2468030"/>
              <a:chOff x="464266" y="2731226"/>
              <a:chExt cx="970344" cy="1850029"/>
            </a:xfrm>
            <a:grpFill/>
          </p:grpSpPr>
          <p:sp>
            <p:nvSpPr>
              <p:cNvPr id="143" name="Graphic 1">
                <a:extLst>
                  <a:ext uri="{FF2B5EF4-FFF2-40B4-BE49-F238E27FC236}">
                    <a16:creationId xmlns:a16="http://schemas.microsoft.com/office/drawing/2014/main" id="{3F8691C7-A1B8-4561-B2AA-91A455FED2FF}"/>
                  </a:ext>
                </a:extLst>
              </p:cNvPr>
              <p:cNvSpPr/>
              <p:nvPr/>
            </p:nvSpPr>
            <p:spPr>
              <a:xfrm>
                <a:off x="464266" y="2731226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44" name="Graphic 1">
                <a:extLst>
                  <a:ext uri="{FF2B5EF4-FFF2-40B4-BE49-F238E27FC236}">
                    <a16:creationId xmlns:a16="http://schemas.microsoft.com/office/drawing/2014/main" id="{33D2E5A2-5B39-4AF1-B9B9-14F35386A78B}"/>
                  </a:ext>
                </a:extLst>
              </p:cNvPr>
              <p:cNvSpPr/>
              <p:nvPr/>
            </p:nvSpPr>
            <p:spPr>
              <a:xfrm>
                <a:off x="949438" y="2731227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45" name="Graphic 1">
                <a:extLst>
                  <a:ext uri="{FF2B5EF4-FFF2-40B4-BE49-F238E27FC236}">
                    <a16:creationId xmlns:a16="http://schemas.microsoft.com/office/drawing/2014/main" id="{06A9DB0F-BBE4-4D4C-ADC7-43759C2A8AF4}"/>
                  </a:ext>
                </a:extLst>
              </p:cNvPr>
              <p:cNvSpPr/>
              <p:nvPr/>
            </p:nvSpPr>
            <p:spPr>
              <a:xfrm>
                <a:off x="464266" y="318976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46" name="Graphic 1">
                <a:extLst>
                  <a:ext uri="{FF2B5EF4-FFF2-40B4-BE49-F238E27FC236}">
                    <a16:creationId xmlns:a16="http://schemas.microsoft.com/office/drawing/2014/main" id="{60FD6759-4FBC-4433-819D-584856C22B99}"/>
                  </a:ext>
                </a:extLst>
              </p:cNvPr>
              <p:cNvSpPr/>
              <p:nvPr/>
            </p:nvSpPr>
            <p:spPr>
              <a:xfrm>
                <a:off x="949438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47" name="Graphic 1">
                <a:extLst>
                  <a:ext uri="{FF2B5EF4-FFF2-40B4-BE49-F238E27FC236}">
                    <a16:creationId xmlns:a16="http://schemas.microsoft.com/office/drawing/2014/main" id="{F44172F0-E8A3-40B5-85FD-6C52A49A326B}"/>
                  </a:ext>
                </a:extLst>
              </p:cNvPr>
              <p:cNvSpPr/>
              <p:nvPr/>
            </p:nvSpPr>
            <p:spPr>
              <a:xfrm>
                <a:off x="464266" y="3648309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48" name="Graphic 1">
                <a:extLst>
                  <a:ext uri="{FF2B5EF4-FFF2-40B4-BE49-F238E27FC236}">
                    <a16:creationId xmlns:a16="http://schemas.microsoft.com/office/drawing/2014/main" id="{D4735F7C-4CA0-4BEE-B329-B8CA1799A416}"/>
                  </a:ext>
                </a:extLst>
              </p:cNvPr>
              <p:cNvSpPr/>
              <p:nvPr/>
            </p:nvSpPr>
            <p:spPr>
              <a:xfrm>
                <a:off x="949438" y="3648309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49" name="Graphic 1">
                <a:extLst>
                  <a:ext uri="{FF2B5EF4-FFF2-40B4-BE49-F238E27FC236}">
                    <a16:creationId xmlns:a16="http://schemas.microsoft.com/office/drawing/2014/main" id="{31A71428-443D-462F-98F8-A3E2FA43706A}"/>
                  </a:ext>
                </a:extLst>
              </p:cNvPr>
              <p:cNvSpPr/>
              <p:nvPr/>
            </p:nvSpPr>
            <p:spPr>
              <a:xfrm>
                <a:off x="464266" y="410684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50" name="Graphic 1">
                <a:extLst>
                  <a:ext uri="{FF2B5EF4-FFF2-40B4-BE49-F238E27FC236}">
                    <a16:creationId xmlns:a16="http://schemas.microsoft.com/office/drawing/2014/main" id="{DFF7CE6A-1D77-4201-B276-98D34E81D1CD}"/>
                  </a:ext>
                </a:extLst>
              </p:cNvPr>
              <p:cNvSpPr/>
              <p:nvPr/>
            </p:nvSpPr>
            <p:spPr>
              <a:xfrm>
                <a:off x="949437" y="410684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159" name="TextBox 7">
            <a:extLst>
              <a:ext uri="{FF2B5EF4-FFF2-40B4-BE49-F238E27FC236}">
                <a16:creationId xmlns:a16="http://schemas.microsoft.com/office/drawing/2014/main" id="{946BD61A-E0B8-41B3-957A-A39B81ABD8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73016" y="4757872"/>
            <a:ext cx="2797969" cy="276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94" tIns="45696" rIns="91394" bIns="45696"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</a:rPr>
              <a:t>Нұр-Сұлтан қаласы, </a:t>
            </a:r>
            <a:r>
              <a:rPr lang="ru-RU" altLang="ru-RU" sz="1200" dirty="0" smtClean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</a:rPr>
              <a:t>2022 ж. </a:t>
            </a:r>
            <a:r>
              <a:rPr lang="ru-RU" altLang="ru-RU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</a:rPr>
              <a:t>сәуір</a:t>
            </a:r>
            <a:endParaRPr lang="ru-RU" altLang="ru-RU" sz="1200" dirty="0">
              <a:solidFill>
                <a:prstClr val="black"/>
              </a:solidFill>
              <a:latin typeface="Arial" panose="020B0604020202020204" pitchFamily="34" charset="0"/>
              <a:ea typeface="Tahoma" pitchFamily="34" charset="0"/>
            </a:endParaRPr>
          </a:p>
        </p:txBody>
      </p:sp>
      <p:sp>
        <p:nvSpPr>
          <p:cNvPr id="44" name="Объект 2"/>
          <p:cNvSpPr>
            <a:spLocks noGrp="1"/>
          </p:cNvSpPr>
          <p:nvPr/>
        </p:nvSpPr>
        <p:spPr>
          <a:xfrm>
            <a:off x="1" y="3069181"/>
            <a:ext cx="9143999" cy="46689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>
              <a:defRPr sz="1800" b="0" i="0">
                <a:solidFill>
                  <a:srgbClr val="2A3990"/>
                </a:solidFill>
                <a:latin typeface="Arial"/>
                <a:ea typeface="+mn-ea"/>
                <a:cs typeface="Arial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200" b="1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ҚАЗАҚСТАН РЕСПУБЛИКАСЫНЫҢ</a:t>
            </a:r>
          </a:p>
          <a:p>
            <a:pPr algn="ctr"/>
            <a:r>
              <a:rPr lang="ru-RU" sz="1200" b="1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ҰЛТТЫҚ ЭКОНОМИКА МИНИСТРЛІГІ</a:t>
            </a:r>
          </a:p>
          <a:p>
            <a:pPr algn="ctr"/>
            <a:endParaRPr lang="kk-KZ" sz="1200" b="1" dirty="0" smtClean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ru-RU" sz="1200" b="1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96217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/>
          <p:cNvGraphicFramePr>
            <a:graphicFrameLocks noGrp="1"/>
          </p:cNvGraphicFramePr>
          <p:nvPr>
            <p:extLst/>
          </p:nvPr>
        </p:nvGraphicFramePr>
        <p:xfrm>
          <a:off x="74140" y="634506"/>
          <a:ext cx="8992634" cy="429157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7380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47156">
                  <a:extLst>
                    <a:ext uri="{9D8B030D-6E8A-4147-A177-3AD203B41FA5}">
                      <a16:colId xmlns:a16="http://schemas.microsoft.com/office/drawing/2014/main" val="891505616"/>
                    </a:ext>
                  </a:extLst>
                </a:gridCol>
                <a:gridCol w="83127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3983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1365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0559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55717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116137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83684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блыстар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0" marR="0" marT="0" marB="0" anchor="ctr">
                    <a:pattFill prst="ltDnDiag">
                      <a:fgClr>
                        <a:srgbClr val="FFC000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k-KZ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Қосымша қаражат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0" marR="0" marT="0" marB="0" anchor="ctr">
                    <a:pattFill prst="ltDnDiag">
                      <a:fgClr>
                        <a:srgbClr val="FFC000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k-KZ" sz="1000" b="1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ЕМ саны</a:t>
                      </a:r>
                      <a:endParaRPr lang="ru-RU" sz="1000" b="1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0" marR="0" marT="0" marB="0" anchor="ctr">
                    <a:pattFill prst="ltDnDiag">
                      <a:fgClr>
                        <a:srgbClr val="FFC000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k-KZ" sz="1000" b="1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обалар саны</a:t>
                      </a:r>
                      <a:endParaRPr lang="ru-RU" sz="1000" b="1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0" marR="0" marT="0" marB="0" anchor="ctr">
                    <a:pattFill prst="ltDnDiag">
                      <a:fgClr>
                        <a:srgbClr val="FFC000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k-KZ" sz="10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Білім саласында жобалар саны</a:t>
                      </a:r>
                      <a:endParaRPr lang="ru-RU" sz="1000" b="1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0" marR="0" marT="0" marB="0" anchor="ctr">
                    <a:pattFill prst="ltDnDiag">
                      <a:fgClr>
                        <a:srgbClr val="FFC000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sz="10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әдениет с</a:t>
                      </a:r>
                      <a:r>
                        <a:rPr lang="ru-RU" sz="1000" b="1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ласында</a:t>
                      </a:r>
                      <a:r>
                        <a:rPr lang="ru-RU" sz="10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00" b="1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обалар</a:t>
                      </a:r>
                      <a:r>
                        <a:rPr lang="ru-RU" sz="10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саны</a:t>
                      </a:r>
                      <a:endParaRPr lang="ru-RU" dirty="0"/>
                    </a:p>
                  </a:txBody>
                  <a:tcPr marL="0" marR="0" marT="0" marB="0" anchor="ctr">
                    <a:pattFill prst="ltDnDiag">
                      <a:fgClr>
                        <a:srgbClr val="FFC000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порт</a:t>
                      </a:r>
                      <a:r>
                        <a:rPr lang="ru-RU" sz="1000" b="1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kk-KZ" sz="10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аласында жобалар саны</a:t>
                      </a:r>
                      <a:endParaRPr lang="ru-RU" sz="1000" b="1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0" marR="0" marT="0" marB="0" anchor="ctr">
                    <a:pattFill prst="ltDnDiag">
                      <a:fgClr>
                        <a:srgbClr val="FFC000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000" b="1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ctr" fontAlgn="ctr"/>
                      <a:r>
                        <a:rPr lang="ru-RU" sz="1000" b="1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енсаулық сақтау</a:t>
                      </a:r>
                      <a:r>
                        <a:rPr lang="ru-RU" sz="10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kk-KZ" sz="10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аласында жобалар саны</a:t>
                      </a:r>
                      <a:endParaRPr lang="ru-RU" sz="1000" b="1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ctr" fontAlgn="ctr"/>
                      <a:endParaRPr lang="ru-RU" sz="1000" b="1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0" marR="0" marT="0" marB="0" anchor="ctr">
                    <a:pattFill prst="ltDnDiag">
                      <a:fgClr>
                        <a:srgbClr val="FFC000"/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2333">
                <a:tc>
                  <a:txBody>
                    <a:bodyPr/>
                    <a:lstStyle/>
                    <a:p>
                      <a:pPr marL="0" indent="85725" algn="l" defTabSz="1125336" rtl="0" eaLnBrk="1" fontAlgn="ctr" latinLnBrk="0" hangingPunct="1"/>
                      <a:r>
                        <a:rPr lang="ru-RU" sz="1200" u="none" strike="noStrike" kern="1200" dirty="0" err="1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қтөбе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 894</a:t>
                      </a:r>
                      <a:endParaRPr lang="ru-RU" sz="1200" b="1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4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6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4510">
                <a:tc>
                  <a:txBody>
                    <a:bodyPr/>
                    <a:lstStyle/>
                    <a:p>
                      <a:pPr marL="0" indent="85725" algn="l" defTabSz="1125336" rtl="0" eaLnBrk="1" fontAlgn="ctr" latinLnBrk="0" hangingPunct="1"/>
                      <a:r>
                        <a:rPr lang="ru-RU" sz="1200" u="none" strike="noStrike" kern="1200" dirty="0" err="1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лматы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 573</a:t>
                      </a:r>
                      <a:endParaRPr lang="ru-RU" sz="1200" b="1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0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0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4510">
                <a:tc>
                  <a:txBody>
                    <a:bodyPr/>
                    <a:lstStyle/>
                    <a:p>
                      <a:pPr marL="0" indent="85725" algn="l" defTabSz="1125336" rtl="0" eaLnBrk="1" fontAlgn="ctr" latinLnBrk="0" hangingPunct="1"/>
                      <a:r>
                        <a:rPr lang="ru-RU" sz="120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тырау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 624</a:t>
                      </a:r>
                      <a:endParaRPr lang="ru-RU" sz="1200" b="1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3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6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0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4510">
                <a:tc>
                  <a:txBody>
                    <a:bodyPr/>
                    <a:lstStyle/>
                    <a:p>
                      <a:pPr marL="0" indent="85725" algn="l" defTabSz="1125336" rtl="0" eaLnBrk="1" fontAlgn="ctr" latinLnBrk="0" hangingPunct="1"/>
                      <a:r>
                        <a:rPr lang="ru-RU" sz="120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амбыл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 264</a:t>
                      </a:r>
                      <a:endParaRPr lang="ru-RU" sz="1200" b="1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0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2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4510">
                <a:tc>
                  <a:txBody>
                    <a:bodyPr/>
                    <a:lstStyle/>
                    <a:p>
                      <a:pPr marL="0" indent="85725" algn="l" defTabSz="1125336" rtl="0" eaLnBrk="1" fontAlgn="ctr" latinLnBrk="0" hangingPunct="1"/>
                      <a:r>
                        <a:rPr lang="ru-RU" sz="120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БҚО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 070</a:t>
                      </a:r>
                      <a:endParaRPr lang="ru-RU" sz="1200" b="1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3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3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6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4510">
                <a:tc>
                  <a:txBody>
                    <a:bodyPr/>
                    <a:lstStyle/>
                    <a:p>
                      <a:pPr marL="0" indent="85725" algn="l" defTabSz="1125336" rtl="0" eaLnBrk="1" fontAlgn="ctr" latinLnBrk="0" hangingPunct="1"/>
                      <a:r>
                        <a:rPr lang="ru-RU" sz="1200" u="none" strike="noStrike" kern="1200" dirty="0" err="1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Қызылорда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 811</a:t>
                      </a:r>
                      <a:endParaRPr lang="ru-RU" sz="1200" b="1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0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1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74510">
                <a:tc>
                  <a:txBody>
                    <a:bodyPr/>
                    <a:lstStyle/>
                    <a:p>
                      <a:pPr marL="0" indent="85725" algn="l" defTabSz="1125336" rtl="0" eaLnBrk="1" fontAlgn="ctr" latinLnBrk="0" hangingPunct="1"/>
                      <a:r>
                        <a:rPr lang="ru-RU" sz="1200" u="none" strike="noStrike" kern="1200" dirty="0" err="1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аңғыстау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 996</a:t>
                      </a:r>
                      <a:endParaRPr lang="ru-RU" sz="1200" b="1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503687">
                <a:tc>
                  <a:txBody>
                    <a:bodyPr/>
                    <a:lstStyle/>
                    <a:p>
                      <a:pPr marL="0" indent="85725" algn="l" defTabSz="1125336" rtl="0" eaLnBrk="1" fontAlgn="ctr" latinLnBrk="0" hangingPunct="1"/>
                      <a:r>
                        <a:rPr lang="ru-RU" sz="1200" u="none" strike="noStrike" kern="1200" dirty="0" err="1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Туркістан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 768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6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6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0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2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3165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800" b="1" u="none" strike="noStrike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8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ИЫНТЫҒЫ </a:t>
                      </a:r>
                      <a:endParaRPr lang="ru-RU" sz="1800" b="1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25336" rtl="0" eaLnBrk="1" fontAlgn="b" latinLnBrk="0" hangingPunct="1"/>
                      <a:r>
                        <a:rPr lang="kk-KZ" sz="16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0 000</a:t>
                      </a:r>
                      <a:endParaRPr lang="ru-RU" sz="1600" b="1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marT="3600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25336" rtl="0" eaLnBrk="1" fontAlgn="b" latinLnBrk="0" hangingPunct="1"/>
                      <a:r>
                        <a:rPr lang="kk-KZ" sz="16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12</a:t>
                      </a:r>
                      <a:endParaRPr lang="ru-RU" sz="1600" b="1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marT="3600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25336" rtl="0" eaLnBrk="1" fontAlgn="b" latinLnBrk="0" hangingPunct="1"/>
                      <a:r>
                        <a:rPr lang="kk-KZ" sz="16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30</a:t>
                      </a:r>
                      <a:endParaRPr lang="ru-RU" sz="1600" b="1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marT="3600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25336" rtl="0" eaLnBrk="1" fontAlgn="b" latinLnBrk="0" hangingPunct="1"/>
                      <a:r>
                        <a:rPr lang="kk-KZ" sz="16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8</a:t>
                      </a:r>
                      <a:endParaRPr lang="ru-RU" sz="1600" b="1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marT="3600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25336" rtl="0" eaLnBrk="1" fontAlgn="b" latinLnBrk="0" hangingPunct="1"/>
                      <a:r>
                        <a:rPr lang="kk-KZ" sz="16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0</a:t>
                      </a:r>
                      <a:endParaRPr lang="ru-RU" sz="1600" b="1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marT="3600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25336" rtl="0" eaLnBrk="1" fontAlgn="b" latinLnBrk="0" hangingPunct="1"/>
                      <a:r>
                        <a:rPr lang="kk-KZ" sz="16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8</a:t>
                      </a:r>
                      <a:endParaRPr lang="ru-RU" sz="1600" b="1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marT="3600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25336" rtl="0" eaLnBrk="1" fontAlgn="b" latinLnBrk="0" hangingPunct="1"/>
                      <a:r>
                        <a:rPr lang="kk-KZ" sz="16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4</a:t>
                      </a:r>
                      <a:endParaRPr lang="ru-RU" sz="1600" b="1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marT="3600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Заголовок 1"/>
          <p:cNvSpPr txBox="1">
            <a:spLocks/>
          </p:cNvSpPr>
          <p:nvPr/>
        </p:nvSpPr>
        <p:spPr>
          <a:xfrm>
            <a:off x="0" y="-16328"/>
            <a:ext cx="9144000" cy="522288"/>
          </a:xfrm>
          <a:prstGeom prst="rect">
            <a:avLst/>
          </a:prstGeom>
        </p:spPr>
        <p:txBody>
          <a:bodyPr anchor="ctr"/>
          <a:lstStyle>
            <a:lvl1pPr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lvl="0" algn="ctr" defTabSz="690563">
              <a:lnSpc>
                <a:spcPct val="100000"/>
              </a:lnSpc>
              <a:defRPr/>
            </a:pPr>
            <a:r>
              <a:rPr lang="ru-RU" sz="1400" b="1" cap="small" dirty="0" smtClean="0">
                <a:solidFill>
                  <a:srgbClr val="396499"/>
                </a:solidFill>
                <a:latin typeface="Arial" pitchFamily="34" charset="0"/>
                <a:cs typeface="Arial" pitchFamily="34" charset="0"/>
              </a:rPr>
              <a:t>2022  ЖЫЛЫ «</a:t>
            </a:r>
            <a:r>
              <a:rPr lang="ru-RU" sz="1400" b="1" cap="small" dirty="0">
                <a:solidFill>
                  <a:srgbClr val="396499"/>
                </a:solidFill>
                <a:latin typeface="Arial" pitchFamily="34" charset="0"/>
                <a:cs typeface="Arial" pitchFamily="34" charset="0"/>
              </a:rPr>
              <a:t>АУЫЛ – ЕЛ БЕСІГІ» </a:t>
            </a:r>
            <a:r>
              <a:rPr lang="ru-RU" sz="1400" b="1" cap="small" dirty="0" smtClean="0">
                <a:solidFill>
                  <a:srgbClr val="396499"/>
                </a:solidFill>
                <a:latin typeface="Arial" pitchFamily="34" charset="0"/>
                <a:cs typeface="Arial" pitchFamily="34" charset="0"/>
              </a:rPr>
              <a:t> ЖОБАСЫ ШЕҢБЕРІНДЕ БАТЫС ЖӘНЕ ОҢТҮСТІК ӨҢІРЛЕРДІ ҚОСЫМША ҚАРЖЫЛАНДЫРУ</a:t>
            </a:r>
            <a:endParaRPr kumimoji="0" lang="ru-RU" sz="1600" b="1" i="0" u="none" strike="noStrike" kern="1200" cap="small" spc="0" normalizeH="0" noProof="0" dirty="0">
              <a:ln>
                <a:noFill/>
              </a:ln>
              <a:solidFill>
                <a:srgbClr val="396499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-7684" y="4936273"/>
            <a:ext cx="9143999" cy="207227"/>
          </a:xfrm>
          <a:prstGeom prst="rect">
            <a:avLst/>
          </a:prstGeom>
          <a:pattFill prst="ltDnDiag">
            <a:fgClr>
              <a:srgbClr val="FFC000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-1414" y="530651"/>
            <a:ext cx="9143999" cy="51807"/>
          </a:xfrm>
          <a:prstGeom prst="rect">
            <a:avLst/>
          </a:prstGeom>
          <a:pattFill prst="ltDnDiag">
            <a:fgClr>
              <a:srgbClr val="FFC000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8372309" y="300589"/>
            <a:ext cx="75213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ctr"/>
            <a:r>
              <a:rPr lang="ru-RU" sz="1200" i="1" dirty="0">
                <a:ea typeface="Tahoma" panose="020B0604030504040204" pitchFamily="34" charset="0"/>
                <a:cs typeface="Tahoma" panose="020B0604030504040204" pitchFamily="34" charset="0"/>
              </a:rPr>
              <a:t>млн. </a:t>
            </a:r>
            <a:r>
              <a:rPr lang="ru-RU" sz="1200" i="1" dirty="0" err="1">
                <a:ea typeface="Tahoma" panose="020B0604030504040204" pitchFamily="34" charset="0"/>
                <a:cs typeface="Tahoma" panose="020B0604030504040204" pitchFamily="34" charset="0"/>
              </a:rPr>
              <a:t>тг</a:t>
            </a:r>
            <a:endParaRPr lang="ru-RU" sz="1200" i="1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906273" y="4879571"/>
            <a:ext cx="24878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b="1" dirty="0" smtClean="0"/>
              <a:t>9</a:t>
            </a:r>
            <a:endParaRPr lang="ru-RU" sz="900" b="1" dirty="0"/>
          </a:p>
        </p:txBody>
      </p:sp>
    </p:spTree>
    <p:extLst>
      <p:ext uri="{BB962C8B-B14F-4D97-AF65-F5344CB8AC3E}">
        <p14:creationId xmlns:p14="http://schemas.microsoft.com/office/powerpoint/2010/main" val="32213330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Прямоугольник 24"/>
          <p:cNvSpPr>
            <a:spLocks noChangeArrowheads="1"/>
          </p:cNvSpPr>
          <p:nvPr/>
        </p:nvSpPr>
        <p:spPr bwMode="auto">
          <a:xfrm>
            <a:off x="1123950" y="639768"/>
            <a:ext cx="7145338" cy="3692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94" tIns="45696" rIns="91394" bIns="45696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algn="ctr" eaLnBrk="1" hangingPunct="1"/>
            <a:r>
              <a:rPr lang="ru-RU" altLang="en-US" sz="1800" dirty="0" err="1" smtClean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Дене</a:t>
            </a:r>
            <a:r>
              <a:rPr lang="ru-RU" altLang="en-US" sz="1800" dirty="0" smtClean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altLang="en-US" sz="1800" dirty="0" err="1" smtClean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шынықтыру-сауықтыру кешенінің құрылысы</a:t>
            </a:r>
            <a:endParaRPr lang="ru-RU" altLang="en-US" sz="1800" dirty="0">
              <a:solidFill>
                <a:srgbClr val="006FCE"/>
              </a:solidFill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3798" name="TextBox 13"/>
          <p:cNvSpPr txBox="1">
            <a:spLocks noChangeArrowheads="1"/>
          </p:cNvSpPr>
          <p:nvPr/>
        </p:nvSpPr>
        <p:spPr bwMode="auto">
          <a:xfrm>
            <a:off x="0" y="73196"/>
            <a:ext cx="91440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394" tIns="45696" rIns="91394" bIns="45696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algn="ctr" eaLnBrk="1" hangingPunct="1"/>
            <a:r>
              <a:rPr lang="kk-KZ" altLang="en-US" sz="1800" b="1" cap="small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ҚОСТАНАЙ ОБЛЫСЫ, ҰЗЫНКӨЛ (ТІРЕК)</a:t>
            </a:r>
            <a:endParaRPr lang="ru-RU" altLang="en-US" sz="1800" b="1" cap="small" dirty="0">
              <a:solidFill>
                <a:srgbClr val="0070C0"/>
              </a:solidFill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3799" name="TextBox 14"/>
          <p:cNvSpPr txBox="1">
            <a:spLocks noChangeArrowheads="1"/>
          </p:cNvSpPr>
          <p:nvPr/>
        </p:nvSpPr>
        <p:spPr bwMode="auto">
          <a:xfrm>
            <a:off x="314325" y="4652966"/>
            <a:ext cx="2880824" cy="3231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94" tIns="45696" rIns="91394" bIns="45696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eaLnBrk="1" hangingPunct="1"/>
            <a:r>
              <a:rPr lang="kk-KZ" altLang="en-US" sz="1500" b="1" dirty="0" smtClean="0">
                <a:cs typeface="Arial" panose="020B0604020202020204" pitchFamily="34" charset="0"/>
              </a:rPr>
              <a:t>2021 жылы аяқталған жоба </a:t>
            </a:r>
            <a:endParaRPr lang="ru-RU" altLang="en-US" sz="1500" b="1" dirty="0">
              <a:cs typeface="Arial" panose="020B0604020202020204" pitchFamily="34" charset="0"/>
            </a:endParaRPr>
          </a:p>
        </p:txBody>
      </p:sp>
      <p:cxnSp>
        <p:nvCxnSpPr>
          <p:cNvPr id="8" name="Straight Connector 32"/>
          <p:cNvCxnSpPr/>
          <p:nvPr/>
        </p:nvCxnSpPr>
        <p:spPr>
          <a:xfrm>
            <a:off x="0" y="539750"/>
            <a:ext cx="9144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Группа 4"/>
          <p:cNvGrpSpPr/>
          <p:nvPr/>
        </p:nvGrpSpPr>
        <p:grpSpPr>
          <a:xfrm>
            <a:off x="304799" y="1340767"/>
            <a:ext cx="4227514" cy="3237537"/>
            <a:chOff x="304799" y="1330110"/>
            <a:chExt cx="4227514" cy="3237537"/>
          </a:xfrm>
        </p:grpSpPr>
        <p:pic>
          <p:nvPicPr>
            <p:cNvPr id="33795" name="Рисунок 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4800" y="1350963"/>
              <a:ext cx="4227513" cy="32083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4" name="Rectangle 192">
              <a:extLst>
                <a:ext uri="{FF2B5EF4-FFF2-40B4-BE49-F238E27FC236}">
                  <a16:creationId xmlns:a16="http://schemas.microsoft.com/office/drawing/2014/main" id="{3D3CA530-2E36-46BE-8CF5-C1148E78E2B3}"/>
                </a:ext>
              </a:extLst>
            </p:cNvPr>
            <p:cNvSpPr>
              <a:spLocks/>
            </p:cNvSpPr>
            <p:nvPr/>
          </p:nvSpPr>
          <p:spPr bwMode="gray">
            <a:xfrm>
              <a:off x="304800" y="1330110"/>
              <a:ext cx="4227513" cy="45719"/>
            </a:xfrm>
            <a:prstGeom prst="rect">
              <a:avLst/>
            </a:pr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500" kern="0" dirty="0">
                <a:solidFill>
                  <a:srgbClr val="000000"/>
                </a:solidFill>
                <a:latin typeface="Lato Heavy"/>
                <a:ea typeface="ＭＳ Ｐゴシック"/>
                <a:cs typeface="+mn-cs"/>
              </a:endParaRPr>
            </a:p>
          </p:txBody>
        </p:sp>
        <p:sp>
          <p:nvSpPr>
            <p:cNvPr id="25" name="Rectangle 192">
              <a:extLst>
                <a:ext uri="{FF2B5EF4-FFF2-40B4-BE49-F238E27FC236}">
                  <a16:creationId xmlns:a16="http://schemas.microsoft.com/office/drawing/2014/main" id="{3D3CA530-2E36-46BE-8CF5-C1148E78E2B3}"/>
                </a:ext>
              </a:extLst>
            </p:cNvPr>
            <p:cNvSpPr>
              <a:spLocks/>
            </p:cNvSpPr>
            <p:nvPr/>
          </p:nvSpPr>
          <p:spPr bwMode="gray">
            <a:xfrm>
              <a:off x="304799" y="4521928"/>
              <a:ext cx="4227513" cy="45719"/>
            </a:xfrm>
            <a:prstGeom prst="rect">
              <a:avLst/>
            </a:pr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500" kern="0" dirty="0">
                <a:solidFill>
                  <a:srgbClr val="000000"/>
                </a:solidFill>
                <a:latin typeface="Lato Heavy"/>
                <a:ea typeface="ＭＳ Ｐゴシック"/>
                <a:cs typeface="+mn-cs"/>
              </a:endParaRPr>
            </a:p>
          </p:txBody>
        </p:sp>
      </p:grpSp>
      <p:grpSp>
        <p:nvGrpSpPr>
          <p:cNvPr id="6" name="Группа 5"/>
          <p:cNvGrpSpPr/>
          <p:nvPr/>
        </p:nvGrpSpPr>
        <p:grpSpPr>
          <a:xfrm>
            <a:off x="4786318" y="1340537"/>
            <a:ext cx="4227513" cy="3237997"/>
            <a:chOff x="4786312" y="1350963"/>
            <a:chExt cx="4227513" cy="3237997"/>
          </a:xfrm>
        </p:grpSpPr>
        <p:pic>
          <p:nvPicPr>
            <p:cNvPr id="33796" name="Рисунок 3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03775" y="1358900"/>
              <a:ext cx="4192588" cy="3184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6" name="Rectangle 192">
              <a:extLst>
                <a:ext uri="{FF2B5EF4-FFF2-40B4-BE49-F238E27FC236}">
                  <a16:creationId xmlns:a16="http://schemas.microsoft.com/office/drawing/2014/main" id="{3D3CA530-2E36-46BE-8CF5-C1148E78E2B3}"/>
                </a:ext>
              </a:extLst>
            </p:cNvPr>
            <p:cNvSpPr>
              <a:spLocks/>
            </p:cNvSpPr>
            <p:nvPr/>
          </p:nvSpPr>
          <p:spPr bwMode="gray">
            <a:xfrm>
              <a:off x="4786312" y="1350963"/>
              <a:ext cx="4227513" cy="45719"/>
            </a:xfrm>
            <a:prstGeom prst="rect">
              <a:avLst/>
            </a:pr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500" kern="0" dirty="0">
                <a:solidFill>
                  <a:srgbClr val="000000"/>
                </a:solidFill>
                <a:latin typeface="Lato Heavy"/>
                <a:ea typeface="ＭＳ Ｐゴシック"/>
                <a:cs typeface="+mn-cs"/>
              </a:endParaRPr>
            </a:p>
          </p:txBody>
        </p:sp>
        <p:sp>
          <p:nvSpPr>
            <p:cNvPr id="27" name="Rectangle 192">
              <a:extLst>
                <a:ext uri="{FF2B5EF4-FFF2-40B4-BE49-F238E27FC236}">
                  <a16:creationId xmlns:a16="http://schemas.microsoft.com/office/drawing/2014/main" id="{3D3CA530-2E36-46BE-8CF5-C1148E78E2B3}"/>
                </a:ext>
              </a:extLst>
            </p:cNvPr>
            <p:cNvSpPr>
              <a:spLocks/>
            </p:cNvSpPr>
            <p:nvPr/>
          </p:nvSpPr>
          <p:spPr bwMode="gray">
            <a:xfrm>
              <a:off x="4803776" y="4543241"/>
              <a:ext cx="4192588" cy="45719"/>
            </a:xfrm>
            <a:prstGeom prst="rect">
              <a:avLst/>
            </a:pr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500" kern="0" dirty="0">
                <a:solidFill>
                  <a:srgbClr val="000000"/>
                </a:solidFill>
                <a:latin typeface="Lato Heavy"/>
                <a:ea typeface="ＭＳ Ｐゴシック"/>
                <a:cs typeface="+mn-cs"/>
              </a:endParaRPr>
            </a:p>
          </p:txBody>
        </p:sp>
      </p:grpSp>
    </p:spTree>
  </p:cSld>
  <p:clrMapOvr>
    <a:masterClrMapping/>
  </p:clrMapOvr>
  <p:transition spd="slow">
    <p:push dir="u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Прямоугольник 24"/>
          <p:cNvSpPr>
            <a:spLocks noChangeArrowheads="1"/>
          </p:cNvSpPr>
          <p:nvPr/>
        </p:nvSpPr>
        <p:spPr bwMode="auto">
          <a:xfrm>
            <a:off x="77794" y="657782"/>
            <a:ext cx="4479925" cy="3692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94" tIns="45696" rIns="91394" bIns="45696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algn="ctr" eaLnBrk="1" hangingPunct="1"/>
            <a:r>
              <a:rPr lang="ru-RU" altLang="en-US" sz="1800" dirty="0" err="1" smtClean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Дәрігерлік </a:t>
            </a:r>
            <a:r>
              <a:rPr lang="ru-RU" altLang="en-US" sz="1800" dirty="0" smtClean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амбулатория </a:t>
            </a:r>
            <a:r>
              <a:rPr lang="ru-RU" altLang="en-US" sz="1800" dirty="0" err="1" smtClean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құрылысы</a:t>
            </a:r>
            <a:endParaRPr lang="ru-RU" altLang="en-US" sz="1800" dirty="0">
              <a:solidFill>
                <a:srgbClr val="006FCE"/>
              </a:solidFill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4820" name="Прямоугольник 14"/>
          <p:cNvSpPr>
            <a:spLocks noChangeArrowheads="1"/>
          </p:cNvSpPr>
          <p:nvPr/>
        </p:nvSpPr>
        <p:spPr bwMode="auto">
          <a:xfrm>
            <a:off x="4635500" y="657230"/>
            <a:ext cx="4318000" cy="3692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94" tIns="45696" rIns="91394" bIns="45696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algn="ctr" eaLnBrk="1" hangingPunct="1"/>
            <a:r>
              <a:rPr lang="ru-RU" altLang="en-US" sz="1800" dirty="0" err="1" smtClean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Кентішілік</a:t>
            </a:r>
            <a:r>
              <a:rPr lang="ru-RU" altLang="en-US" sz="1800" dirty="0" smtClean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altLang="en-US" sz="1800" dirty="0" err="1" smtClean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жолдарды</a:t>
            </a:r>
            <a:r>
              <a:rPr lang="ru-RU" altLang="en-US" sz="1800" dirty="0" smtClean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altLang="en-US" sz="1800" dirty="0" err="1" smtClean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орташа</a:t>
            </a:r>
            <a:r>
              <a:rPr lang="ru-RU" altLang="en-US" sz="1800" dirty="0" smtClean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altLang="en-US" sz="1800" dirty="0" err="1" smtClean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жөндеу</a:t>
            </a:r>
            <a:endParaRPr lang="ru-RU" altLang="en-US" sz="1800" dirty="0">
              <a:solidFill>
                <a:srgbClr val="006FCE"/>
              </a:solidFill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7794" y="49892"/>
            <a:ext cx="4327525" cy="523172"/>
          </a:xfrm>
          <a:prstGeom prst="rect">
            <a:avLst/>
          </a:prstGeom>
          <a:noFill/>
        </p:spPr>
        <p:txBody>
          <a:bodyPr lIns="91394" tIns="45696" rIns="91394" bIns="45696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b="1" cap="small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ПАВЛОДАР ОБЛЫСЫ, ҚЫЗЫЛЖАР АУЫЛЫ (ТІРЕК)</a:t>
            </a:r>
            <a:endParaRPr lang="ru-RU" b="1" cap="small" dirty="0">
              <a:solidFill>
                <a:srgbClr val="0070C0"/>
              </a:solidFill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4824" name="TextBox 28"/>
          <p:cNvSpPr txBox="1">
            <a:spLocks noChangeArrowheads="1"/>
          </p:cNvSpPr>
          <p:nvPr/>
        </p:nvSpPr>
        <p:spPr bwMode="auto">
          <a:xfrm>
            <a:off x="229884" y="4691407"/>
            <a:ext cx="2827925" cy="3231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94" tIns="45696" rIns="91394" bIns="45696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eaLnBrk="1" hangingPunct="1"/>
            <a:r>
              <a:rPr lang="kk-KZ" altLang="en-US" sz="1500" b="1" dirty="0" smtClean="0">
                <a:cs typeface="Arial" panose="020B0604020202020204" pitchFamily="34" charset="0"/>
              </a:rPr>
              <a:t>2021 жылы аяқталған жоба </a:t>
            </a:r>
            <a:endParaRPr lang="ru-RU" altLang="en-US" sz="1500" b="1" dirty="0">
              <a:cs typeface="Arial" panose="020B0604020202020204" pitchFamily="34" charset="0"/>
            </a:endParaRPr>
          </a:p>
        </p:txBody>
      </p:sp>
      <p:sp>
        <p:nvSpPr>
          <p:cNvPr id="34826" name="Прямоугольник 1"/>
          <p:cNvSpPr>
            <a:spLocks noChangeArrowheads="1"/>
          </p:cNvSpPr>
          <p:nvPr/>
        </p:nvSpPr>
        <p:spPr bwMode="auto">
          <a:xfrm>
            <a:off x="4606131" y="49892"/>
            <a:ext cx="4489450" cy="523172"/>
          </a:xfrm>
          <a:prstGeom prst="rect">
            <a:avLst/>
          </a:prstGeom>
          <a:noFill/>
        </p:spPr>
        <p:txBody>
          <a:bodyPr lIns="91394" tIns="45696" rIns="91394" bIns="45696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kk-KZ" altLang="en-US" b="1" cap="small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ҚЫЗЫЛОРДА ОБЛЫСЫ, ЖАЛАГАШ АУЫЛЫ (ТІРЕК)</a:t>
            </a:r>
            <a:endParaRPr lang="ru-RU" altLang="en-US" b="1" cap="small" dirty="0">
              <a:solidFill>
                <a:srgbClr val="0070C0"/>
              </a:solidFill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11" name="Straight Connector 32"/>
          <p:cNvCxnSpPr/>
          <p:nvPr/>
        </p:nvCxnSpPr>
        <p:spPr>
          <a:xfrm>
            <a:off x="0" y="539750"/>
            <a:ext cx="9144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Группа 1"/>
          <p:cNvGrpSpPr/>
          <p:nvPr/>
        </p:nvGrpSpPr>
        <p:grpSpPr>
          <a:xfrm>
            <a:off x="187023" y="1356678"/>
            <a:ext cx="4227513" cy="3230244"/>
            <a:chOff x="187017" y="1325881"/>
            <a:chExt cx="4227513" cy="3230244"/>
          </a:xfrm>
        </p:grpSpPr>
        <p:pic>
          <p:nvPicPr>
            <p:cNvPr id="34819" name="Picture 2" descr="D:\Desktop\20210805_092720.jp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552" t="19322" r="22676" b="15520"/>
            <a:stretch>
              <a:fillRect/>
            </a:stretch>
          </p:blipFill>
          <p:spPr bwMode="auto">
            <a:xfrm>
              <a:off x="187017" y="1371600"/>
              <a:ext cx="4214813" cy="3184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1" name="Rectangle 192">
              <a:extLst>
                <a:ext uri="{FF2B5EF4-FFF2-40B4-BE49-F238E27FC236}">
                  <a16:creationId xmlns:a16="http://schemas.microsoft.com/office/drawing/2014/main" id="{3D3CA530-2E36-46BE-8CF5-C1148E78E2B3}"/>
                </a:ext>
              </a:extLst>
            </p:cNvPr>
            <p:cNvSpPr>
              <a:spLocks/>
            </p:cNvSpPr>
            <p:nvPr/>
          </p:nvSpPr>
          <p:spPr bwMode="gray">
            <a:xfrm>
              <a:off x="187017" y="4510406"/>
              <a:ext cx="4227513" cy="45719"/>
            </a:xfrm>
            <a:prstGeom prst="rect">
              <a:avLst/>
            </a:pr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500" kern="0" dirty="0">
                <a:solidFill>
                  <a:srgbClr val="000000"/>
                </a:solidFill>
                <a:latin typeface="Lato Heavy"/>
                <a:ea typeface="ＭＳ Ｐゴシック"/>
                <a:cs typeface="+mn-cs"/>
              </a:endParaRPr>
            </a:p>
          </p:txBody>
        </p:sp>
        <p:sp>
          <p:nvSpPr>
            <p:cNvPr id="22" name="Rectangle 192">
              <a:extLst>
                <a:ext uri="{FF2B5EF4-FFF2-40B4-BE49-F238E27FC236}">
                  <a16:creationId xmlns:a16="http://schemas.microsoft.com/office/drawing/2014/main" id="{3D3CA530-2E36-46BE-8CF5-C1148E78E2B3}"/>
                </a:ext>
              </a:extLst>
            </p:cNvPr>
            <p:cNvSpPr>
              <a:spLocks/>
            </p:cNvSpPr>
            <p:nvPr/>
          </p:nvSpPr>
          <p:spPr bwMode="gray">
            <a:xfrm>
              <a:off x="187017" y="1325881"/>
              <a:ext cx="4227513" cy="45719"/>
            </a:xfrm>
            <a:prstGeom prst="rect">
              <a:avLst/>
            </a:pr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500" kern="0" dirty="0">
                <a:solidFill>
                  <a:srgbClr val="000000"/>
                </a:solidFill>
                <a:latin typeface="Lato Heavy"/>
                <a:ea typeface="ＭＳ Ｐゴシック"/>
                <a:cs typeface="+mn-cs"/>
              </a:endParaRPr>
            </a:p>
          </p:txBody>
        </p:sp>
      </p:grpSp>
      <p:grpSp>
        <p:nvGrpSpPr>
          <p:cNvPr id="3" name="Группа 2"/>
          <p:cNvGrpSpPr/>
          <p:nvPr/>
        </p:nvGrpSpPr>
        <p:grpSpPr>
          <a:xfrm>
            <a:off x="4759556" y="1337311"/>
            <a:ext cx="4198938" cy="3268979"/>
            <a:chOff x="4759556" y="1348740"/>
            <a:chExt cx="4198938" cy="3268979"/>
          </a:xfrm>
        </p:grpSpPr>
        <p:pic>
          <p:nvPicPr>
            <p:cNvPr id="34825" name="Рисунок 2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546" t="7596" r="16635"/>
            <a:stretch>
              <a:fillRect/>
            </a:stretch>
          </p:blipFill>
          <p:spPr bwMode="auto">
            <a:xfrm>
              <a:off x="4759556" y="1371600"/>
              <a:ext cx="4198938" cy="3200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5" name="Rectangle 192">
              <a:extLst>
                <a:ext uri="{FF2B5EF4-FFF2-40B4-BE49-F238E27FC236}">
                  <a16:creationId xmlns:a16="http://schemas.microsoft.com/office/drawing/2014/main" id="{3D3CA530-2E36-46BE-8CF5-C1148E78E2B3}"/>
                </a:ext>
              </a:extLst>
            </p:cNvPr>
            <p:cNvSpPr>
              <a:spLocks/>
            </p:cNvSpPr>
            <p:nvPr/>
          </p:nvSpPr>
          <p:spPr bwMode="gray">
            <a:xfrm>
              <a:off x="4759557" y="1348740"/>
              <a:ext cx="4193944" cy="45719"/>
            </a:xfrm>
            <a:prstGeom prst="rect">
              <a:avLst/>
            </a:pr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500" kern="0" dirty="0">
                <a:solidFill>
                  <a:srgbClr val="000000"/>
                </a:solidFill>
                <a:latin typeface="Lato Heavy"/>
                <a:ea typeface="ＭＳ Ｐゴシック"/>
                <a:cs typeface="+mn-cs"/>
              </a:endParaRPr>
            </a:p>
          </p:txBody>
        </p:sp>
        <p:sp>
          <p:nvSpPr>
            <p:cNvPr id="27" name="Rectangle 192">
              <a:extLst>
                <a:ext uri="{FF2B5EF4-FFF2-40B4-BE49-F238E27FC236}">
                  <a16:creationId xmlns:a16="http://schemas.microsoft.com/office/drawing/2014/main" id="{3D3CA530-2E36-46BE-8CF5-C1148E78E2B3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2053" y="4572000"/>
              <a:ext cx="4193944" cy="45719"/>
            </a:xfrm>
            <a:prstGeom prst="rect">
              <a:avLst/>
            </a:pr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500" kern="0" dirty="0">
                <a:solidFill>
                  <a:srgbClr val="000000"/>
                </a:solidFill>
                <a:latin typeface="Lato Heavy"/>
                <a:ea typeface="ＭＳ Ｐゴシック"/>
                <a:cs typeface="+mn-cs"/>
              </a:endParaRPr>
            </a:p>
          </p:txBody>
        </p:sp>
      </p:grpSp>
    </p:spTree>
  </p:cSld>
  <p:clrMapOvr>
    <a:masterClrMapping/>
  </p:clrMapOvr>
  <p:transition spd="slow"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Прямоугольник 24"/>
          <p:cNvSpPr>
            <a:spLocks noChangeArrowheads="1"/>
          </p:cNvSpPr>
          <p:nvPr/>
        </p:nvSpPr>
        <p:spPr bwMode="auto">
          <a:xfrm>
            <a:off x="1123950" y="639763"/>
            <a:ext cx="7145338" cy="3692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94" tIns="45696" rIns="91394" bIns="45696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algn="ctr" eaLnBrk="1" hangingPunct="1"/>
            <a:r>
              <a:rPr lang="ru-RU" altLang="en-US" sz="1800" dirty="0" err="1" smtClean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АйшабибІ</a:t>
            </a:r>
            <a:r>
              <a:rPr lang="ru-RU" altLang="en-US" sz="1800" dirty="0" smtClean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altLang="en-US" sz="1800" dirty="0" err="1" smtClean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ауылының мектебін</a:t>
            </a:r>
            <a:r>
              <a:rPr lang="ru-RU" altLang="en-US" sz="1800" dirty="0" smtClean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altLang="en-US" sz="1800" dirty="0" err="1" smtClean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күрделі жөндеу</a:t>
            </a:r>
            <a:r>
              <a:rPr lang="ru-RU" altLang="en-US" sz="1800" dirty="0" smtClean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endParaRPr lang="ru-RU" altLang="en-US" sz="1800" dirty="0">
              <a:solidFill>
                <a:srgbClr val="006FCE"/>
              </a:solidFill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5844" name="TextBox 13"/>
          <p:cNvSpPr txBox="1">
            <a:spLocks noChangeArrowheads="1"/>
          </p:cNvSpPr>
          <p:nvPr/>
        </p:nvSpPr>
        <p:spPr bwMode="auto">
          <a:xfrm>
            <a:off x="0" y="69850"/>
            <a:ext cx="9144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394" tIns="45696" rIns="91394" bIns="45696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algn="ctr" eaLnBrk="1" hangingPunct="1"/>
            <a:r>
              <a:rPr lang="kk-KZ" altLang="en-US" sz="1800" b="1" cap="small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ЖАМБЫЛ ОБЛЫСЫ, АЙШАБИБІ АУЫЛЫ (ТІРЕК)</a:t>
            </a:r>
            <a:endParaRPr lang="ru-RU" altLang="en-US" sz="1800" b="1" cap="small" dirty="0">
              <a:solidFill>
                <a:srgbClr val="0070C0"/>
              </a:solidFill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5845" name="TextBox 14"/>
          <p:cNvSpPr txBox="1">
            <a:spLocks noChangeArrowheads="1"/>
          </p:cNvSpPr>
          <p:nvPr/>
        </p:nvSpPr>
        <p:spPr bwMode="auto">
          <a:xfrm>
            <a:off x="314325" y="4652966"/>
            <a:ext cx="2827925" cy="3231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94" tIns="45696" rIns="91394" bIns="45696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eaLnBrk="1" hangingPunct="1"/>
            <a:r>
              <a:rPr lang="kk-KZ" altLang="en-US" sz="1500" b="1" dirty="0" smtClean="0">
                <a:cs typeface="Arial" panose="020B0604020202020204" pitchFamily="34" charset="0"/>
              </a:rPr>
              <a:t>2021 жылы аяқталған жоба </a:t>
            </a:r>
            <a:endParaRPr lang="ru-RU" altLang="en-US" sz="1500" b="1" dirty="0">
              <a:cs typeface="Arial" panose="020B0604020202020204" pitchFamily="34" charset="0"/>
            </a:endParaRPr>
          </a:p>
        </p:txBody>
      </p:sp>
      <p:cxnSp>
        <p:nvCxnSpPr>
          <p:cNvPr id="8" name="Straight Connector 32"/>
          <p:cNvCxnSpPr/>
          <p:nvPr/>
        </p:nvCxnSpPr>
        <p:spPr>
          <a:xfrm>
            <a:off x="0" y="539750"/>
            <a:ext cx="9144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Группа 1"/>
          <p:cNvGrpSpPr/>
          <p:nvPr/>
        </p:nvGrpSpPr>
        <p:grpSpPr>
          <a:xfrm>
            <a:off x="173038" y="1356678"/>
            <a:ext cx="4192588" cy="3232466"/>
            <a:chOff x="173038" y="1356678"/>
            <a:chExt cx="4192588" cy="3232466"/>
          </a:xfrm>
        </p:grpSpPr>
        <p:pic>
          <p:nvPicPr>
            <p:cNvPr id="35846" name="Рисунок 7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3038" y="1358900"/>
              <a:ext cx="4192587" cy="3184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" name="Rectangle 192">
              <a:extLst>
                <a:ext uri="{FF2B5EF4-FFF2-40B4-BE49-F238E27FC236}">
                  <a16:creationId xmlns:a16="http://schemas.microsoft.com/office/drawing/2014/main" id="{3D3CA530-2E36-46BE-8CF5-C1148E78E2B3}"/>
                </a:ext>
              </a:extLst>
            </p:cNvPr>
            <p:cNvSpPr>
              <a:spLocks/>
            </p:cNvSpPr>
            <p:nvPr/>
          </p:nvSpPr>
          <p:spPr bwMode="gray">
            <a:xfrm>
              <a:off x="187018" y="1356678"/>
              <a:ext cx="4178608" cy="45719"/>
            </a:xfrm>
            <a:prstGeom prst="rect">
              <a:avLst/>
            </a:pr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500" kern="0" dirty="0">
                <a:solidFill>
                  <a:srgbClr val="000000"/>
                </a:solidFill>
                <a:latin typeface="Lato Heavy"/>
                <a:ea typeface="ＭＳ Ｐゴシック"/>
                <a:cs typeface="+mn-cs"/>
              </a:endParaRPr>
            </a:p>
          </p:txBody>
        </p:sp>
        <p:sp>
          <p:nvSpPr>
            <p:cNvPr id="10" name="Rectangle 192">
              <a:extLst>
                <a:ext uri="{FF2B5EF4-FFF2-40B4-BE49-F238E27FC236}">
                  <a16:creationId xmlns:a16="http://schemas.microsoft.com/office/drawing/2014/main" id="{3D3CA530-2E36-46BE-8CF5-C1148E78E2B3}"/>
                </a:ext>
              </a:extLst>
            </p:cNvPr>
            <p:cNvSpPr>
              <a:spLocks/>
            </p:cNvSpPr>
            <p:nvPr/>
          </p:nvSpPr>
          <p:spPr bwMode="gray">
            <a:xfrm>
              <a:off x="187018" y="4543425"/>
              <a:ext cx="4178608" cy="45719"/>
            </a:xfrm>
            <a:prstGeom prst="rect">
              <a:avLst/>
            </a:pr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500" kern="0" dirty="0">
                <a:solidFill>
                  <a:srgbClr val="000000"/>
                </a:solidFill>
                <a:latin typeface="Lato Heavy"/>
                <a:ea typeface="ＭＳ Ｐゴシック"/>
                <a:cs typeface="+mn-cs"/>
              </a:endParaRPr>
            </a:p>
          </p:txBody>
        </p:sp>
      </p:grpSp>
      <p:grpSp>
        <p:nvGrpSpPr>
          <p:cNvPr id="3" name="Группа 2"/>
          <p:cNvGrpSpPr/>
          <p:nvPr/>
        </p:nvGrpSpPr>
        <p:grpSpPr>
          <a:xfrm>
            <a:off x="4806949" y="1352047"/>
            <a:ext cx="4079876" cy="3212332"/>
            <a:chOff x="4806949" y="1352047"/>
            <a:chExt cx="4079876" cy="3212332"/>
          </a:xfrm>
        </p:grpSpPr>
        <p:pic>
          <p:nvPicPr>
            <p:cNvPr id="35847" name="Рисунок 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06950" y="1358900"/>
              <a:ext cx="4079875" cy="3184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" name="Rectangle 192">
              <a:extLst>
                <a:ext uri="{FF2B5EF4-FFF2-40B4-BE49-F238E27FC236}">
                  <a16:creationId xmlns:a16="http://schemas.microsoft.com/office/drawing/2014/main" id="{3D3CA530-2E36-46BE-8CF5-C1148E78E2B3}"/>
                </a:ext>
              </a:extLst>
            </p:cNvPr>
            <p:cNvSpPr>
              <a:spLocks/>
            </p:cNvSpPr>
            <p:nvPr/>
          </p:nvSpPr>
          <p:spPr bwMode="gray">
            <a:xfrm>
              <a:off x="4806949" y="1352047"/>
              <a:ext cx="4079876" cy="45719"/>
            </a:xfrm>
            <a:prstGeom prst="rect">
              <a:avLst/>
            </a:pr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500" kern="0" dirty="0">
                <a:solidFill>
                  <a:srgbClr val="000000"/>
                </a:solidFill>
                <a:latin typeface="Lato Heavy"/>
                <a:ea typeface="ＭＳ Ｐゴシック"/>
                <a:cs typeface="+mn-cs"/>
              </a:endParaRPr>
            </a:p>
          </p:txBody>
        </p:sp>
        <p:sp>
          <p:nvSpPr>
            <p:cNvPr id="14" name="Rectangle 192">
              <a:extLst>
                <a:ext uri="{FF2B5EF4-FFF2-40B4-BE49-F238E27FC236}">
                  <a16:creationId xmlns:a16="http://schemas.microsoft.com/office/drawing/2014/main" id="{3D3CA530-2E36-46BE-8CF5-C1148E78E2B3}"/>
                </a:ext>
              </a:extLst>
            </p:cNvPr>
            <p:cNvSpPr>
              <a:spLocks/>
            </p:cNvSpPr>
            <p:nvPr/>
          </p:nvSpPr>
          <p:spPr bwMode="gray">
            <a:xfrm>
              <a:off x="4806949" y="4518660"/>
              <a:ext cx="4079876" cy="45719"/>
            </a:xfrm>
            <a:prstGeom prst="rect">
              <a:avLst/>
            </a:pr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500" kern="0" dirty="0">
                <a:solidFill>
                  <a:srgbClr val="000000"/>
                </a:solidFill>
                <a:latin typeface="Lato Heavy"/>
                <a:ea typeface="ＭＳ Ｐゴシック"/>
                <a:cs typeface="+mn-cs"/>
              </a:endParaRPr>
            </a:p>
          </p:txBody>
        </p:sp>
      </p:grpSp>
    </p:spTree>
  </p:cSld>
  <p:clrMapOvr>
    <a:masterClrMapping/>
  </p:clrMapOvr>
  <p:transition spd="slow">
    <p:push dir="u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Прямоугольник 24"/>
          <p:cNvSpPr>
            <a:spLocks noChangeArrowheads="1"/>
          </p:cNvSpPr>
          <p:nvPr/>
        </p:nvSpPr>
        <p:spPr bwMode="auto">
          <a:xfrm>
            <a:off x="77794" y="624533"/>
            <a:ext cx="4479925" cy="8617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94" tIns="45696" rIns="91394" bIns="45696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algn="ctr" eaLnBrk="1" hangingPunct="1"/>
            <a:r>
              <a:rPr lang="ru-RU" altLang="en-US" sz="1700" dirty="0" err="1" smtClean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Қызылсай ауылының д</a:t>
            </a:r>
            <a:r>
              <a:rPr lang="ru-RU" altLang="en-US" sz="1600" dirty="0" err="1" smtClean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әрігерлік </a:t>
            </a:r>
            <a:r>
              <a:rPr lang="ru-RU" altLang="en-US" sz="1600" dirty="0" smtClean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амбулатория </a:t>
            </a:r>
            <a:r>
              <a:rPr lang="ru-RU" altLang="en-US" sz="1600" dirty="0" err="1" smtClean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құрылысы</a:t>
            </a:r>
            <a:endParaRPr lang="ru-RU" altLang="en-US" sz="1600" dirty="0" smtClean="0">
              <a:solidFill>
                <a:srgbClr val="006FCE"/>
              </a:solidFill>
              <a:ea typeface="Tahoma" panose="020B0604030504040204" pitchFamily="34" charset="0"/>
              <a:cs typeface="Arial" panose="020B0604020202020204" pitchFamily="34" charset="0"/>
            </a:endParaRPr>
          </a:p>
          <a:p>
            <a:pPr algn="ctr" eaLnBrk="1" hangingPunct="1"/>
            <a:endParaRPr lang="ru-RU" altLang="en-US" sz="1700" dirty="0">
              <a:solidFill>
                <a:srgbClr val="006FCE"/>
              </a:solidFill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4820" name="Прямоугольник 14"/>
          <p:cNvSpPr>
            <a:spLocks noChangeArrowheads="1"/>
          </p:cNvSpPr>
          <p:nvPr/>
        </p:nvSpPr>
        <p:spPr bwMode="auto">
          <a:xfrm>
            <a:off x="4552370" y="599046"/>
            <a:ext cx="4709318" cy="8617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394" tIns="45696" rIns="91394" bIns="45696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algn="ctr" eaLnBrk="1" hangingPunct="1"/>
            <a:r>
              <a:rPr lang="ru-RU" altLang="en-US" sz="1700" dirty="0" err="1" smtClean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Ақшұқыр ауылының д</a:t>
            </a:r>
            <a:r>
              <a:rPr lang="ru-RU" altLang="en-US" sz="1600" dirty="0" err="1" smtClean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ене</a:t>
            </a:r>
            <a:r>
              <a:rPr lang="ru-RU" altLang="en-US" sz="1600" dirty="0" smtClean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 smtClean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шынықтыру-сауықтыру кешенінің құрылысы</a:t>
            </a:r>
            <a:endParaRPr lang="ru-RU" altLang="en-US" sz="1600" dirty="0" smtClean="0">
              <a:solidFill>
                <a:srgbClr val="006FCE"/>
              </a:solidFill>
              <a:ea typeface="Tahoma" panose="020B0604030504040204" pitchFamily="34" charset="0"/>
              <a:cs typeface="Arial" panose="020B0604020202020204" pitchFamily="34" charset="0"/>
            </a:endParaRPr>
          </a:p>
          <a:p>
            <a:pPr algn="ctr" eaLnBrk="1" hangingPunct="1"/>
            <a:endParaRPr lang="ru-RU" altLang="en-US" sz="1700" dirty="0">
              <a:solidFill>
                <a:srgbClr val="006FCE"/>
              </a:solidFill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7794" y="49892"/>
            <a:ext cx="9008023" cy="369332"/>
          </a:xfrm>
          <a:prstGeom prst="rect">
            <a:avLst/>
          </a:prstGeom>
          <a:noFill/>
        </p:spPr>
        <p:txBody>
          <a:bodyPr wrap="square" lIns="91394" tIns="45696" rIns="91394" bIns="45696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altLang="en-US" sz="1800" b="1" cap="small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МАҢҒЫСТАУ ОБЛЫСЫ</a:t>
            </a:r>
            <a:endParaRPr lang="ru-RU" sz="1800" b="1" cap="small" dirty="0">
              <a:solidFill>
                <a:srgbClr val="0070C0"/>
              </a:solidFill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4824" name="TextBox 28"/>
          <p:cNvSpPr txBox="1">
            <a:spLocks noChangeArrowheads="1"/>
          </p:cNvSpPr>
          <p:nvPr/>
        </p:nvSpPr>
        <p:spPr bwMode="auto">
          <a:xfrm>
            <a:off x="229884" y="4691407"/>
            <a:ext cx="2827925" cy="3231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94" tIns="45696" rIns="91394" bIns="45696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eaLnBrk="1" hangingPunct="1"/>
            <a:r>
              <a:rPr lang="kk-KZ" altLang="en-US" sz="1500" b="1" dirty="0" smtClean="0">
                <a:cs typeface="Arial" panose="020B0604020202020204" pitchFamily="34" charset="0"/>
              </a:rPr>
              <a:t>2021 жылы аяқталған жоба </a:t>
            </a:r>
            <a:endParaRPr lang="ru-RU" altLang="en-US" sz="1500" b="1" dirty="0">
              <a:cs typeface="Arial" panose="020B0604020202020204" pitchFamily="34" charset="0"/>
            </a:endParaRPr>
          </a:p>
        </p:txBody>
      </p:sp>
      <p:cxnSp>
        <p:nvCxnSpPr>
          <p:cNvPr id="11" name="Straight Connector 32"/>
          <p:cNvCxnSpPr/>
          <p:nvPr/>
        </p:nvCxnSpPr>
        <p:spPr>
          <a:xfrm>
            <a:off x="0" y="539750"/>
            <a:ext cx="9144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Группа 1"/>
          <p:cNvGrpSpPr/>
          <p:nvPr/>
        </p:nvGrpSpPr>
        <p:grpSpPr>
          <a:xfrm>
            <a:off x="187020" y="1340052"/>
            <a:ext cx="4260293" cy="3246866"/>
            <a:chOff x="187017" y="1309255"/>
            <a:chExt cx="4260293" cy="3246866"/>
          </a:xfrm>
        </p:grpSpPr>
        <p:sp>
          <p:nvSpPr>
            <p:cNvPr id="21" name="Rectangle 192">
              <a:extLst>
                <a:ext uri="{FF2B5EF4-FFF2-40B4-BE49-F238E27FC236}">
                  <a16:creationId xmlns:a16="http://schemas.microsoft.com/office/drawing/2014/main" id="{3D3CA530-2E36-46BE-8CF5-C1148E78E2B3}"/>
                </a:ext>
              </a:extLst>
            </p:cNvPr>
            <p:cNvSpPr>
              <a:spLocks/>
            </p:cNvSpPr>
            <p:nvPr/>
          </p:nvSpPr>
          <p:spPr bwMode="gray">
            <a:xfrm>
              <a:off x="187017" y="4510402"/>
              <a:ext cx="4260293" cy="45719"/>
            </a:xfrm>
            <a:prstGeom prst="rect">
              <a:avLst/>
            </a:pr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500" kern="0" dirty="0">
                <a:solidFill>
                  <a:srgbClr val="000000"/>
                </a:solidFill>
                <a:latin typeface="Lato Heavy"/>
                <a:ea typeface="ＭＳ Ｐゴシック"/>
                <a:cs typeface="+mn-cs"/>
              </a:endParaRPr>
            </a:p>
          </p:txBody>
        </p:sp>
        <p:sp>
          <p:nvSpPr>
            <p:cNvPr id="22" name="Rectangle 192">
              <a:extLst>
                <a:ext uri="{FF2B5EF4-FFF2-40B4-BE49-F238E27FC236}">
                  <a16:creationId xmlns:a16="http://schemas.microsoft.com/office/drawing/2014/main" id="{3D3CA530-2E36-46BE-8CF5-C1148E78E2B3}"/>
                </a:ext>
              </a:extLst>
            </p:cNvPr>
            <p:cNvSpPr>
              <a:spLocks/>
            </p:cNvSpPr>
            <p:nvPr/>
          </p:nvSpPr>
          <p:spPr bwMode="gray">
            <a:xfrm>
              <a:off x="187017" y="1309255"/>
              <a:ext cx="4260293" cy="48167"/>
            </a:xfrm>
            <a:prstGeom prst="rect">
              <a:avLst/>
            </a:pr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500" kern="0" dirty="0">
                <a:solidFill>
                  <a:srgbClr val="000000"/>
                </a:solidFill>
                <a:latin typeface="Lato Heavy"/>
                <a:ea typeface="ＭＳ Ｐゴシック"/>
                <a:cs typeface="+mn-cs"/>
              </a:endParaRPr>
            </a:p>
          </p:txBody>
        </p:sp>
      </p:grpSp>
      <p:grpSp>
        <p:nvGrpSpPr>
          <p:cNvPr id="3" name="Группа 2"/>
          <p:cNvGrpSpPr/>
          <p:nvPr/>
        </p:nvGrpSpPr>
        <p:grpSpPr>
          <a:xfrm>
            <a:off x="4759557" y="1337311"/>
            <a:ext cx="4196440" cy="3268979"/>
            <a:chOff x="4759557" y="1348740"/>
            <a:chExt cx="4196440" cy="3268979"/>
          </a:xfrm>
        </p:grpSpPr>
        <p:sp>
          <p:nvSpPr>
            <p:cNvPr id="25" name="Rectangle 192">
              <a:extLst>
                <a:ext uri="{FF2B5EF4-FFF2-40B4-BE49-F238E27FC236}">
                  <a16:creationId xmlns:a16="http://schemas.microsoft.com/office/drawing/2014/main" id="{3D3CA530-2E36-46BE-8CF5-C1148E78E2B3}"/>
                </a:ext>
              </a:extLst>
            </p:cNvPr>
            <p:cNvSpPr>
              <a:spLocks/>
            </p:cNvSpPr>
            <p:nvPr/>
          </p:nvSpPr>
          <p:spPr bwMode="gray">
            <a:xfrm>
              <a:off x="4759557" y="1348740"/>
              <a:ext cx="4193944" cy="50908"/>
            </a:xfrm>
            <a:prstGeom prst="rect">
              <a:avLst/>
            </a:pr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500" kern="0" dirty="0">
                <a:solidFill>
                  <a:srgbClr val="000000"/>
                </a:solidFill>
                <a:latin typeface="Lato Heavy"/>
                <a:ea typeface="ＭＳ Ｐゴシック"/>
                <a:cs typeface="+mn-cs"/>
              </a:endParaRPr>
            </a:p>
          </p:txBody>
        </p:sp>
        <p:sp>
          <p:nvSpPr>
            <p:cNvPr id="27" name="Rectangle 192">
              <a:extLst>
                <a:ext uri="{FF2B5EF4-FFF2-40B4-BE49-F238E27FC236}">
                  <a16:creationId xmlns:a16="http://schemas.microsoft.com/office/drawing/2014/main" id="{3D3CA530-2E36-46BE-8CF5-C1148E78E2B3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2053" y="4572000"/>
              <a:ext cx="4193944" cy="45719"/>
            </a:xfrm>
            <a:prstGeom prst="rect">
              <a:avLst/>
            </a:pr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500" kern="0" dirty="0">
                <a:solidFill>
                  <a:srgbClr val="000000"/>
                </a:solidFill>
                <a:latin typeface="Lato Heavy"/>
                <a:ea typeface="ＭＳ Ｐゴシック"/>
                <a:cs typeface="+mn-cs"/>
              </a:endParaRPr>
            </a:p>
          </p:txBody>
        </p:sp>
      </p:grpSp>
      <p:pic>
        <p:nvPicPr>
          <p:cNvPr id="18" name="Рисунок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1632" y="1390375"/>
            <a:ext cx="4191869" cy="3170196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7200"/>
                    </a14:imgEffect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8000" t="32194" r="4002" b="27807"/>
          <a:stretch/>
        </p:blipFill>
        <p:spPr>
          <a:xfrm>
            <a:off x="182037" y="1398693"/>
            <a:ext cx="4256960" cy="3134197"/>
          </a:xfrm>
          <a:prstGeom prst="rect">
            <a:avLst/>
          </a:prstGeom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639020146"/>
      </p:ext>
    </p:extLst>
  </p:cSld>
  <p:clrMapOvr>
    <a:masterClrMapping/>
  </p:clrMapOvr>
  <p:transition spd="slow"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Прямоугольник 24"/>
          <p:cNvSpPr>
            <a:spLocks noChangeArrowheads="1"/>
          </p:cNvSpPr>
          <p:nvPr/>
        </p:nvSpPr>
        <p:spPr bwMode="auto">
          <a:xfrm>
            <a:off x="38633" y="606749"/>
            <a:ext cx="4302631" cy="6462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394" tIns="45696" rIns="91394" bIns="45696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algn="ctr" eaLnBrk="1" hangingPunct="1"/>
            <a:r>
              <a:rPr lang="ru-RU" altLang="en-US" sz="1800" dirty="0" err="1" smtClean="0">
                <a:solidFill>
                  <a:srgbClr val="0070C0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Білтабанов</a:t>
            </a:r>
            <a:r>
              <a:rPr lang="ru-RU" altLang="en-US" sz="1800" dirty="0" smtClean="0">
                <a:solidFill>
                  <a:srgbClr val="0070C0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altLang="en-US" sz="1800" dirty="0" err="1" smtClean="0">
                <a:solidFill>
                  <a:srgbClr val="0070C0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ауылының ауыл</a:t>
            </a:r>
            <a:r>
              <a:rPr lang="ru-RU" altLang="en-US" sz="1800" dirty="0" smtClean="0">
                <a:solidFill>
                  <a:srgbClr val="0070C0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 клубы </a:t>
            </a:r>
            <a:r>
              <a:rPr lang="ru-RU" altLang="en-US" sz="1800" dirty="0" err="1" smtClean="0">
                <a:solidFill>
                  <a:srgbClr val="0070C0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ғимаратын күрделі жөндеу</a:t>
            </a:r>
            <a:r>
              <a:rPr lang="ru-RU" altLang="en-US" sz="1800" dirty="0" smtClean="0">
                <a:solidFill>
                  <a:srgbClr val="0070C0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 </a:t>
            </a:r>
            <a:endParaRPr lang="ru-RU" altLang="en-US" sz="1800" dirty="0">
              <a:solidFill>
                <a:srgbClr val="0070C0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5844" name="TextBox 13"/>
          <p:cNvSpPr txBox="1">
            <a:spLocks noChangeArrowheads="1"/>
          </p:cNvSpPr>
          <p:nvPr/>
        </p:nvSpPr>
        <p:spPr bwMode="auto">
          <a:xfrm>
            <a:off x="0" y="69850"/>
            <a:ext cx="9144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394" tIns="45696" rIns="91394" bIns="45696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algn="ctr" eaLnBrk="1" hangingPunct="1"/>
            <a:r>
              <a:rPr lang="kk-KZ" altLang="en-US" sz="1800" b="1" cap="small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АҚТӨБЕ ОБЛЫСЫ</a:t>
            </a:r>
            <a:endParaRPr lang="ru-RU" altLang="en-US" sz="1800" b="1" cap="small" dirty="0">
              <a:solidFill>
                <a:srgbClr val="0070C0"/>
              </a:solidFill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5845" name="TextBox 14"/>
          <p:cNvSpPr txBox="1">
            <a:spLocks noChangeArrowheads="1"/>
          </p:cNvSpPr>
          <p:nvPr/>
        </p:nvSpPr>
        <p:spPr bwMode="auto">
          <a:xfrm>
            <a:off x="314325" y="4652966"/>
            <a:ext cx="2827925" cy="3231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94" tIns="45696" rIns="91394" bIns="45696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eaLnBrk="1" hangingPunct="1"/>
            <a:r>
              <a:rPr lang="kk-KZ" altLang="en-US" sz="1500" b="1" dirty="0" smtClean="0">
                <a:cs typeface="Arial" panose="020B0604020202020204" pitchFamily="34" charset="0"/>
              </a:rPr>
              <a:t>2021 жылы аяқталған жоба </a:t>
            </a:r>
            <a:endParaRPr lang="ru-RU" altLang="en-US" sz="1500" b="1" dirty="0">
              <a:cs typeface="Arial" panose="020B0604020202020204" pitchFamily="34" charset="0"/>
            </a:endParaRPr>
          </a:p>
        </p:txBody>
      </p:sp>
      <p:cxnSp>
        <p:nvCxnSpPr>
          <p:cNvPr id="8" name="Straight Connector 32"/>
          <p:cNvCxnSpPr/>
          <p:nvPr/>
        </p:nvCxnSpPr>
        <p:spPr>
          <a:xfrm>
            <a:off x="0" y="539750"/>
            <a:ext cx="9144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Группа 1"/>
          <p:cNvGrpSpPr/>
          <p:nvPr/>
        </p:nvGrpSpPr>
        <p:grpSpPr>
          <a:xfrm>
            <a:off x="187018" y="1356678"/>
            <a:ext cx="4178608" cy="3232466"/>
            <a:chOff x="187018" y="1356678"/>
            <a:chExt cx="4178608" cy="3232466"/>
          </a:xfrm>
        </p:grpSpPr>
        <p:sp>
          <p:nvSpPr>
            <p:cNvPr id="9" name="Rectangle 192">
              <a:extLst>
                <a:ext uri="{FF2B5EF4-FFF2-40B4-BE49-F238E27FC236}">
                  <a16:creationId xmlns:a16="http://schemas.microsoft.com/office/drawing/2014/main" id="{3D3CA530-2E36-46BE-8CF5-C1148E78E2B3}"/>
                </a:ext>
              </a:extLst>
            </p:cNvPr>
            <p:cNvSpPr>
              <a:spLocks/>
            </p:cNvSpPr>
            <p:nvPr/>
          </p:nvSpPr>
          <p:spPr bwMode="gray">
            <a:xfrm>
              <a:off x="187018" y="1356678"/>
              <a:ext cx="4178608" cy="45719"/>
            </a:xfrm>
            <a:prstGeom prst="rect">
              <a:avLst/>
            </a:pr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500" kern="0" dirty="0">
                <a:solidFill>
                  <a:srgbClr val="000000"/>
                </a:solidFill>
                <a:latin typeface="Lato Heavy"/>
                <a:ea typeface="ＭＳ Ｐゴシック"/>
                <a:cs typeface="+mn-cs"/>
              </a:endParaRPr>
            </a:p>
          </p:txBody>
        </p:sp>
        <p:sp>
          <p:nvSpPr>
            <p:cNvPr id="10" name="Rectangle 192">
              <a:extLst>
                <a:ext uri="{FF2B5EF4-FFF2-40B4-BE49-F238E27FC236}">
                  <a16:creationId xmlns:a16="http://schemas.microsoft.com/office/drawing/2014/main" id="{3D3CA530-2E36-46BE-8CF5-C1148E78E2B3}"/>
                </a:ext>
              </a:extLst>
            </p:cNvPr>
            <p:cNvSpPr>
              <a:spLocks/>
            </p:cNvSpPr>
            <p:nvPr/>
          </p:nvSpPr>
          <p:spPr bwMode="gray">
            <a:xfrm>
              <a:off x="187018" y="4543425"/>
              <a:ext cx="4178608" cy="45719"/>
            </a:xfrm>
            <a:prstGeom prst="rect">
              <a:avLst/>
            </a:pr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500" kern="0" dirty="0">
                <a:solidFill>
                  <a:srgbClr val="000000"/>
                </a:solidFill>
                <a:latin typeface="Lato Heavy"/>
                <a:ea typeface="ＭＳ Ｐゴシック"/>
                <a:cs typeface="+mn-cs"/>
              </a:endParaRPr>
            </a:p>
          </p:txBody>
        </p:sp>
      </p:grpSp>
      <p:grpSp>
        <p:nvGrpSpPr>
          <p:cNvPr id="3" name="Группа 2"/>
          <p:cNvGrpSpPr/>
          <p:nvPr/>
        </p:nvGrpSpPr>
        <p:grpSpPr>
          <a:xfrm>
            <a:off x="4806949" y="1352047"/>
            <a:ext cx="4079876" cy="3212332"/>
            <a:chOff x="4806949" y="1352047"/>
            <a:chExt cx="4079876" cy="3212332"/>
          </a:xfrm>
        </p:grpSpPr>
        <p:sp>
          <p:nvSpPr>
            <p:cNvPr id="12" name="Rectangle 192">
              <a:extLst>
                <a:ext uri="{FF2B5EF4-FFF2-40B4-BE49-F238E27FC236}">
                  <a16:creationId xmlns:a16="http://schemas.microsoft.com/office/drawing/2014/main" id="{3D3CA530-2E36-46BE-8CF5-C1148E78E2B3}"/>
                </a:ext>
              </a:extLst>
            </p:cNvPr>
            <p:cNvSpPr>
              <a:spLocks/>
            </p:cNvSpPr>
            <p:nvPr/>
          </p:nvSpPr>
          <p:spPr bwMode="gray">
            <a:xfrm>
              <a:off x="4806949" y="1352047"/>
              <a:ext cx="4079876" cy="45719"/>
            </a:xfrm>
            <a:prstGeom prst="rect">
              <a:avLst/>
            </a:pr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500" kern="0" dirty="0">
                <a:solidFill>
                  <a:srgbClr val="000000"/>
                </a:solidFill>
                <a:latin typeface="Lato Heavy"/>
                <a:ea typeface="ＭＳ Ｐゴシック"/>
                <a:cs typeface="+mn-cs"/>
              </a:endParaRPr>
            </a:p>
          </p:txBody>
        </p:sp>
        <p:sp>
          <p:nvSpPr>
            <p:cNvPr id="14" name="Rectangle 192">
              <a:extLst>
                <a:ext uri="{FF2B5EF4-FFF2-40B4-BE49-F238E27FC236}">
                  <a16:creationId xmlns:a16="http://schemas.microsoft.com/office/drawing/2014/main" id="{3D3CA530-2E36-46BE-8CF5-C1148E78E2B3}"/>
                </a:ext>
              </a:extLst>
            </p:cNvPr>
            <p:cNvSpPr>
              <a:spLocks/>
            </p:cNvSpPr>
            <p:nvPr/>
          </p:nvSpPr>
          <p:spPr bwMode="gray">
            <a:xfrm>
              <a:off x="4806949" y="4518660"/>
              <a:ext cx="4079876" cy="45719"/>
            </a:xfrm>
            <a:prstGeom prst="rect">
              <a:avLst/>
            </a:pr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500" kern="0" dirty="0">
                <a:solidFill>
                  <a:srgbClr val="000000"/>
                </a:solidFill>
                <a:latin typeface="Lato Heavy"/>
                <a:ea typeface="ＭＳ Ｐゴシック"/>
                <a:cs typeface="+mn-cs"/>
              </a:endParaRPr>
            </a:p>
          </p:txBody>
        </p:sp>
      </p:grpSp>
      <p:pic>
        <p:nvPicPr>
          <p:cNvPr id="15" name="Рисунок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018" y="1397772"/>
            <a:ext cx="4178608" cy="3145659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69" b="14612"/>
          <a:stretch/>
        </p:blipFill>
        <p:spPr>
          <a:xfrm>
            <a:off x="4806950" y="1397765"/>
            <a:ext cx="4079876" cy="3120895"/>
          </a:xfrm>
          <a:prstGeom prst="rect">
            <a:avLst/>
          </a:prstGeom>
        </p:spPr>
      </p:pic>
      <p:sp>
        <p:nvSpPr>
          <p:cNvPr id="18" name="Прямоугольник 24"/>
          <p:cNvSpPr>
            <a:spLocks noChangeArrowheads="1"/>
          </p:cNvSpPr>
          <p:nvPr/>
        </p:nvSpPr>
        <p:spPr bwMode="auto">
          <a:xfrm>
            <a:off x="4600666" y="612701"/>
            <a:ext cx="4543334" cy="6462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394" tIns="45696" rIns="91394" bIns="45696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algn="ctr" eaLnBrk="1" hangingPunct="1"/>
            <a:r>
              <a:rPr lang="ru-RU" sz="1800" dirty="0" err="1" smtClean="0">
                <a:solidFill>
                  <a:srgbClr val="0070C0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Жылтыр</a:t>
            </a:r>
            <a:r>
              <a:rPr lang="ru-RU" sz="1800" dirty="0" smtClean="0">
                <a:solidFill>
                  <a:srgbClr val="0070C0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800" dirty="0" err="1" smtClean="0">
                <a:solidFill>
                  <a:srgbClr val="0070C0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ауылының дәрігерлік </a:t>
            </a:r>
            <a:r>
              <a:rPr lang="ru-RU" sz="1800" dirty="0" smtClean="0">
                <a:solidFill>
                  <a:srgbClr val="0070C0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амбулатория </a:t>
            </a:r>
            <a:r>
              <a:rPr lang="ru-RU" sz="1800" dirty="0" err="1" smtClean="0">
                <a:solidFill>
                  <a:srgbClr val="0070C0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құрылысы</a:t>
            </a:r>
            <a:endParaRPr lang="ru-RU" altLang="en-US" sz="1800" dirty="0">
              <a:solidFill>
                <a:srgbClr val="0070C0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9766690"/>
      </p:ext>
    </p:extLst>
  </p:cSld>
  <p:clrMapOvr>
    <a:masterClrMapping/>
  </p:clrMapOvr>
  <p:transition spd="slow">
    <p:push dir="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 txBox="1">
            <a:spLocks/>
          </p:cNvSpPr>
          <p:nvPr/>
        </p:nvSpPr>
        <p:spPr>
          <a:xfrm>
            <a:off x="0" y="-1"/>
            <a:ext cx="9144000" cy="603849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 defTabSz="690563">
              <a:lnSpc>
                <a:spcPct val="100000"/>
              </a:lnSpc>
              <a:defRPr/>
            </a:pPr>
            <a:r>
              <a:rPr lang="ru-RU" sz="2000" b="1" cap="small" dirty="0" err="1" smtClean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уылдық елді</a:t>
            </a:r>
            <a:r>
              <a:rPr lang="ru-RU" sz="2000" b="1" cap="small" dirty="0" smtClean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000" b="1" cap="small" dirty="0" err="1" smtClean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кендер</a:t>
            </a:r>
            <a:r>
              <a:rPr lang="ru-RU" sz="2000" b="1" cap="small" dirty="0" smtClean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000" b="1" cap="small" dirty="0" err="1" smtClean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үшін өңірлік стандарттар</a:t>
            </a:r>
            <a:r>
              <a:rPr lang="ru-RU" sz="2000" b="1" cap="small" dirty="0" smtClean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000" b="1" cap="small" dirty="0" err="1" smtClean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үйесі</a:t>
            </a:r>
            <a:r>
              <a:rPr lang="ru-RU" sz="2000" b="1" cap="small" dirty="0" smtClean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ru-RU" sz="2000" b="1" cap="small" dirty="0">
              <a:solidFill>
                <a:schemeClr val="tx2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3357569" y="3253110"/>
            <a:ext cx="453557" cy="830995"/>
          </a:xfrm>
          <a:prstGeom prst="rect">
            <a:avLst/>
          </a:prstGeom>
          <a:noFill/>
        </p:spPr>
        <p:txBody>
          <a:bodyPr wrap="square" lIns="91436" tIns="45719" rIns="91436" bIns="45719" rtlCol="0">
            <a:spAutoFit/>
          </a:bodyPr>
          <a:lstStyle/>
          <a:p>
            <a:endParaRPr lang="ru-RU" sz="2400" b="1" dirty="0" smtClean="0">
              <a:solidFill>
                <a:srgbClr val="FF0000"/>
              </a:solidFill>
              <a:cs typeface="Arial" panose="020B0604020202020204" pitchFamily="34" charset="0"/>
            </a:endParaRPr>
          </a:p>
          <a:p>
            <a:endParaRPr lang="ru-RU" sz="2400" b="1" dirty="0">
              <a:solidFill>
                <a:srgbClr val="FF0000"/>
              </a:solidFill>
              <a:cs typeface="Arial" panose="020B0604020202020204" pitchFamily="34" charset="0"/>
            </a:endParaRPr>
          </a:p>
        </p:txBody>
      </p:sp>
      <p:sp>
        <p:nvSpPr>
          <p:cNvPr id="59" name="Oval 31">
            <a:extLst>
              <a:ext uri="{FF2B5EF4-FFF2-40B4-BE49-F238E27FC236}">
                <a16:creationId xmlns:a16="http://schemas.microsoft.com/office/drawing/2014/main" id="{C98DD18B-C4C1-8E46-9310-34C18A0F1807}"/>
              </a:ext>
            </a:extLst>
          </p:cNvPr>
          <p:cNvSpPr/>
          <p:nvPr/>
        </p:nvSpPr>
        <p:spPr>
          <a:xfrm>
            <a:off x="1424742" y="4883364"/>
            <a:ext cx="194508" cy="195388"/>
          </a:xfrm>
          <a:prstGeom prst="ellipse">
            <a:avLst/>
          </a:prstGeom>
          <a:solidFill>
            <a:srgbClr val="00B050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en-US" sz="1800" kern="0" dirty="0" err="1">
              <a:solidFill>
                <a:sysClr val="windowText" lastClr="000000"/>
              </a:solidFill>
              <a:cs typeface="Arial" panose="020B0604020202020204" pitchFamily="34" charset="0"/>
            </a:endParaRPr>
          </a:p>
        </p:txBody>
      </p:sp>
      <p:sp>
        <p:nvSpPr>
          <p:cNvPr id="60" name="Oval 31">
            <a:extLst>
              <a:ext uri="{FF2B5EF4-FFF2-40B4-BE49-F238E27FC236}">
                <a16:creationId xmlns:a16="http://schemas.microsoft.com/office/drawing/2014/main" id="{C98DD18B-C4C1-8E46-9310-34C18A0F1807}"/>
              </a:ext>
            </a:extLst>
          </p:cNvPr>
          <p:cNvSpPr/>
          <p:nvPr/>
        </p:nvSpPr>
        <p:spPr>
          <a:xfrm>
            <a:off x="138201" y="4847122"/>
            <a:ext cx="187165" cy="206089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en-US" sz="1800" kern="0" dirty="0" err="1">
              <a:solidFill>
                <a:sysClr val="windowText" lastClr="000000"/>
              </a:solidFill>
              <a:cs typeface="Arial" panose="020B0604020202020204" pitchFamily="34" charset="0"/>
            </a:endParaRPr>
          </a:p>
        </p:txBody>
      </p:sp>
      <p:sp>
        <p:nvSpPr>
          <p:cNvPr id="61" name="Прямоугольник 60"/>
          <p:cNvSpPr/>
          <p:nvPr/>
        </p:nvSpPr>
        <p:spPr>
          <a:xfrm>
            <a:off x="1619250" y="4850844"/>
            <a:ext cx="1428760" cy="246221"/>
          </a:xfrm>
          <a:prstGeom prst="rect">
            <a:avLst/>
          </a:prstGeom>
          <a:ln w="6350">
            <a:noFill/>
            <a:prstDash val="dash"/>
          </a:ln>
        </p:spPr>
        <p:txBody>
          <a:bodyPr wrap="square">
            <a:spAutoFit/>
          </a:bodyPr>
          <a:lstStyle/>
          <a:p>
            <a:r>
              <a:rPr lang="kk-KZ" sz="100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ұсынылатын</a:t>
            </a:r>
            <a:endParaRPr lang="ru-RU" sz="900" i="1" dirty="0">
              <a:solidFill>
                <a:prstClr val="black"/>
              </a:solidFill>
              <a:latin typeface="Segoe Ul light"/>
            </a:endParaRPr>
          </a:p>
        </p:txBody>
      </p:sp>
      <p:sp>
        <p:nvSpPr>
          <p:cNvPr id="62" name="Прямоугольник 61"/>
          <p:cNvSpPr/>
          <p:nvPr/>
        </p:nvSpPr>
        <p:spPr>
          <a:xfrm>
            <a:off x="325366" y="4847093"/>
            <a:ext cx="1571636" cy="246221"/>
          </a:xfrm>
          <a:prstGeom prst="rect">
            <a:avLst/>
          </a:prstGeom>
          <a:ln w="6350">
            <a:noFill/>
            <a:prstDash val="dash"/>
          </a:ln>
        </p:spPr>
        <p:txBody>
          <a:bodyPr wrap="square">
            <a:spAutoFit/>
          </a:bodyPr>
          <a:lstStyle/>
          <a:p>
            <a:r>
              <a:rPr lang="ru-RU" sz="1000" i="1" spc="-2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міндетті</a:t>
            </a:r>
            <a:endParaRPr lang="ru-RU" sz="1000" i="1" spc="-20" dirty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36" name="Прямая соединительная линия 35"/>
          <p:cNvCxnSpPr/>
          <p:nvPr/>
        </p:nvCxnSpPr>
        <p:spPr>
          <a:xfrm>
            <a:off x="0" y="591015"/>
            <a:ext cx="9134532" cy="12833"/>
          </a:xfrm>
          <a:prstGeom prst="line">
            <a:avLst/>
          </a:prstGeom>
          <a:ln w="28575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Прямоугольник 42"/>
          <p:cNvSpPr/>
          <p:nvPr/>
        </p:nvSpPr>
        <p:spPr>
          <a:xfrm>
            <a:off x="317477" y="713280"/>
            <a:ext cx="2415309" cy="41086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txBody>
          <a:bodyPr anchor="ctr"/>
          <a:lstStyle/>
          <a:p>
            <a:pPr algn="ctr" defTabSz="690563"/>
            <a:r>
              <a:rPr lang="ru-RU" b="1" cap="small" dirty="0" err="1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уылдар</a:t>
            </a:r>
            <a:r>
              <a:rPr lang="ru-RU" b="1" cap="small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b="1" cap="small" dirty="0" err="1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үшін</a:t>
            </a:r>
            <a:r>
              <a:rPr lang="ru-RU" b="1" cap="small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</a:t>
            </a:r>
          </a:p>
          <a:p>
            <a:pPr algn="ctr" defTabSz="690563" fontAlgn="base">
              <a:spcBef>
                <a:spcPct val="0"/>
              </a:spcBef>
              <a:spcAft>
                <a:spcPct val="0"/>
              </a:spcAft>
            </a:pPr>
            <a:r>
              <a:rPr lang="ru-RU" b="1" cap="small" dirty="0" err="1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ъектілер/қызметтер</a:t>
            </a:r>
            <a:r>
              <a:rPr lang="ru-RU" b="1" cap="small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F437ECC-71A9-476E-90F8-EC0111C5C7F3}"/>
              </a:ext>
            </a:extLst>
          </p:cNvPr>
          <p:cNvSpPr txBox="1">
            <a:spLocks/>
          </p:cNvSpPr>
          <p:nvPr/>
        </p:nvSpPr>
        <p:spPr>
          <a:xfrm>
            <a:off x="338192" y="1124143"/>
            <a:ext cx="2394594" cy="282165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prstDash val="solid"/>
          </a:ln>
        </p:spPr>
        <p:txBody>
          <a:bodyPr vert="horz" wrap="square" lIns="0" tIns="0" rIns="0" bIns="0" rtlCol="0">
            <a:no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sz="1071"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9pPr>
          </a:lstStyle>
          <a:p>
            <a:pPr marL="85725" lvl="0" indent="-85725" defTabSz="685800">
              <a:spcAft>
                <a:spcPts val="600"/>
              </a:spcAft>
              <a:buClr>
                <a:srgbClr val="5AB4C1">
                  <a:lumMod val="50000"/>
                </a:srgbClr>
              </a:buClr>
              <a:buSzTx/>
              <a:buFont typeface="Wingdings" pitchFamily="2" charset="2"/>
              <a:buChar char="Ø"/>
            </a:pPr>
            <a:r>
              <a:rPr lang="ru-RU" sz="100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000" i="1" spc="-2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білім</a:t>
            </a:r>
            <a:r>
              <a:rPr lang="ru-RU" sz="100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000" i="1" spc="-2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ұйымдары</a:t>
            </a:r>
            <a:endParaRPr lang="ru-RU" sz="1000" i="1" spc="-20" dirty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85725" lvl="0" indent="-85725" defTabSz="685800">
              <a:spcAft>
                <a:spcPts val="600"/>
              </a:spcAft>
              <a:buClr>
                <a:srgbClr val="5AB4C1">
                  <a:lumMod val="50000"/>
                </a:srgbClr>
              </a:buClr>
              <a:buSzTx/>
              <a:buFont typeface="Wingdings" pitchFamily="2" charset="2"/>
              <a:buChar char="Ø"/>
            </a:pPr>
            <a:r>
              <a:rPr lang="ru-RU" sz="100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бала </a:t>
            </a:r>
            <a:r>
              <a:rPr lang="ru-RU" sz="1000" i="1" spc="-2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бақшалар</a:t>
            </a:r>
            <a:endParaRPr lang="ru-RU" sz="1000" i="1" spc="-20" dirty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85725" lvl="0" indent="-85725" defTabSz="685800">
              <a:spcAft>
                <a:spcPts val="600"/>
              </a:spcAft>
              <a:buClr>
                <a:srgbClr val="5AB4C1">
                  <a:lumMod val="50000"/>
                </a:srgbClr>
              </a:buClr>
              <a:buSzTx/>
              <a:buFont typeface="Wingdings" pitchFamily="2" charset="2"/>
              <a:buChar char="Ø"/>
            </a:pPr>
            <a:r>
              <a:rPr lang="kk-KZ" sz="100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денсаулық сақтау ұйымдары</a:t>
            </a:r>
            <a:r>
              <a:rPr lang="ru-RU" sz="100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endParaRPr lang="ru-RU" sz="1000" i="1" spc="-20" dirty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85725" lvl="0" indent="-85725" defTabSz="685800">
              <a:spcAft>
                <a:spcPts val="600"/>
              </a:spcAft>
              <a:buClr>
                <a:srgbClr val="5AB4C1">
                  <a:lumMod val="50000"/>
                </a:srgbClr>
              </a:buClr>
              <a:buSzTx/>
              <a:buFont typeface="Wingdings" pitchFamily="2" charset="2"/>
              <a:buChar char="Ø"/>
            </a:pPr>
            <a:r>
              <a:rPr lang="kk-KZ" sz="1000" i="1" dirty="0" smtClean="0">
                <a:solidFill>
                  <a:srgbClr val="00B05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дәріхана  киосктері</a:t>
            </a:r>
            <a:endParaRPr lang="kk-KZ" sz="1000" i="1" dirty="0">
              <a:solidFill>
                <a:srgbClr val="00B05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85725" lvl="0" indent="-85725" defTabSz="685800">
              <a:spcAft>
                <a:spcPts val="600"/>
              </a:spcAft>
              <a:buClr>
                <a:srgbClr val="5AB4C1">
                  <a:lumMod val="50000"/>
                </a:srgbClr>
              </a:buClr>
              <a:buSzTx/>
              <a:buFont typeface="Wingdings" pitchFamily="2" charset="2"/>
              <a:buChar char="Ø"/>
            </a:pPr>
            <a:r>
              <a:rPr lang="ru-RU" sz="100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000" i="1" spc="-2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электрмен</a:t>
            </a:r>
            <a:r>
              <a:rPr lang="ru-RU" sz="100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000" i="1" spc="-2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қамтамасыз ету</a:t>
            </a:r>
            <a:endParaRPr lang="ru-RU" sz="1000" i="1" spc="-20" dirty="0" smtClean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85725" lvl="0" indent="-85725" defTabSz="685800">
              <a:spcAft>
                <a:spcPts val="600"/>
              </a:spcAft>
              <a:buClr>
                <a:srgbClr val="5AB4C1">
                  <a:lumMod val="50000"/>
                </a:srgbClr>
              </a:buClr>
              <a:buSzTx/>
              <a:buFont typeface="Wingdings" pitchFamily="2" charset="2"/>
              <a:buChar char="Ø"/>
            </a:pPr>
            <a:r>
              <a:rPr lang="ru-RU" sz="100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000" i="1" spc="-2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умен</a:t>
            </a:r>
            <a:r>
              <a:rPr lang="ru-RU" sz="100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000" i="1" spc="-2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қамтамасыз ету</a:t>
            </a:r>
            <a:endParaRPr lang="ru-RU" sz="1000" i="1" spc="-20" dirty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85725" lvl="0" indent="-85725" defTabSz="685800">
              <a:spcAft>
                <a:spcPts val="600"/>
              </a:spcAft>
              <a:buClr>
                <a:srgbClr val="5AB4C1">
                  <a:lumMod val="50000"/>
                </a:srgbClr>
              </a:buClr>
              <a:buSzTx/>
              <a:buFont typeface="Wingdings" pitchFamily="2" charset="2"/>
              <a:buChar char="Ø"/>
            </a:pPr>
            <a:r>
              <a:rPr lang="ru-RU" sz="1000" i="1" spc="-2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000" i="1" spc="-2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ауыл</a:t>
            </a:r>
            <a:r>
              <a:rPr lang="ru-RU" sz="100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000" i="1" spc="-2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кругі</a:t>
            </a:r>
            <a:r>
              <a:rPr lang="ru-RU" sz="100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000" i="1" spc="-2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рталығына дейін</a:t>
            </a:r>
            <a:r>
              <a:rPr lang="ru-RU" sz="100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000" i="1" spc="-2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қатты қабатты  жол</a:t>
            </a:r>
            <a:r>
              <a:rPr lang="ru-RU" sz="100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; </a:t>
            </a:r>
            <a:r>
              <a:rPr lang="ru-RU" sz="1000" i="1" spc="-2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ауыл</a:t>
            </a:r>
            <a:r>
              <a:rPr lang="ru-RU" sz="100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000" i="1" spc="-2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ішіндегі</a:t>
            </a:r>
            <a:r>
              <a:rPr lang="ru-RU" sz="100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 </a:t>
            </a:r>
            <a:r>
              <a:rPr lang="ru-RU" sz="1000" i="1" spc="-2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топырақ жол</a:t>
            </a:r>
            <a:r>
              <a:rPr lang="ru-RU" sz="100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 </a:t>
            </a:r>
            <a:endParaRPr lang="ru-RU" sz="1000" i="1" spc="-20" dirty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85725" lvl="0" indent="-85725" defTabSz="685800">
              <a:spcAft>
                <a:spcPts val="600"/>
              </a:spcAft>
              <a:buClr>
                <a:srgbClr val="5AB4C1">
                  <a:lumMod val="50000"/>
                </a:srgbClr>
              </a:buClr>
              <a:buSzTx/>
              <a:buFont typeface="Wingdings" pitchFamily="2" charset="2"/>
              <a:buChar char="Ø"/>
            </a:pPr>
            <a:r>
              <a:rPr lang="ru-RU" sz="100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000" i="1" spc="-2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жолаушыларғы қызмет көрсету  бекеті</a:t>
            </a:r>
            <a:endParaRPr lang="ru-RU" sz="1000" i="1" spc="-20" dirty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85725" lvl="0" indent="-85725" defTabSz="685800">
              <a:spcAft>
                <a:spcPts val="600"/>
              </a:spcAft>
              <a:buClr>
                <a:srgbClr val="5AB4C1">
                  <a:lumMod val="50000"/>
                </a:srgbClr>
              </a:buClr>
              <a:buSzTx/>
              <a:buFont typeface="Wingdings" pitchFamily="2" charset="2"/>
              <a:buChar char="Ø"/>
            </a:pPr>
            <a:r>
              <a:rPr lang="kk-KZ" sz="100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байланыс қызметі </a:t>
            </a:r>
            <a:endParaRPr lang="kk-KZ" sz="1000" i="1" spc="-20" dirty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85725" lvl="0" indent="-85725" defTabSz="685800">
              <a:spcAft>
                <a:spcPts val="600"/>
              </a:spcAft>
              <a:buClr>
                <a:srgbClr val="5AB4C1">
                  <a:lumMod val="50000"/>
                </a:srgbClr>
              </a:buClr>
              <a:buSzTx/>
              <a:buFont typeface="Wingdings" pitchFamily="2" charset="2"/>
              <a:buChar char="Ø"/>
            </a:pPr>
            <a:r>
              <a:rPr lang="kk-KZ" sz="1000" i="1" dirty="0" smtClean="0">
                <a:solidFill>
                  <a:srgbClr val="00B05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аралас тауарлар дүкені</a:t>
            </a:r>
            <a:endParaRPr lang="kk-KZ" sz="1000" i="1" dirty="0">
              <a:solidFill>
                <a:srgbClr val="00B05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85725" lvl="0" indent="-85725" defTabSz="685800">
              <a:spcAft>
                <a:spcPts val="600"/>
              </a:spcAft>
              <a:buClr>
                <a:srgbClr val="5AB4C1">
                  <a:lumMod val="50000"/>
                </a:srgbClr>
              </a:buClr>
              <a:buSzTx/>
              <a:buFont typeface="Wingdings" pitchFamily="2" charset="2"/>
              <a:buChar char="Ø"/>
            </a:pPr>
            <a:r>
              <a:rPr lang="kk-KZ" sz="1000" i="1" dirty="0" smtClean="0">
                <a:solidFill>
                  <a:srgbClr val="00B05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ҚТҚ </a:t>
            </a:r>
            <a:endParaRPr lang="kk-KZ" sz="1000" i="1" dirty="0">
              <a:solidFill>
                <a:srgbClr val="00B05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3064042" y="707295"/>
            <a:ext cx="3128210" cy="41684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txBody>
          <a:bodyPr anchor="ctr"/>
          <a:lstStyle/>
          <a:p>
            <a:pPr algn="ctr" defTabSz="690563"/>
            <a:r>
              <a:rPr lang="ru-RU" b="1" cap="small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</a:t>
            </a:r>
            <a:r>
              <a:rPr lang="ru-RU" b="1" cap="small" dirty="0" err="1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уылдық округтер</a:t>
            </a:r>
            <a:r>
              <a:rPr lang="ru-RU" b="1" cap="small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b="1" cap="small" dirty="0" err="1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рталықтары үшін объектілер/қызметтер</a:t>
            </a:r>
            <a:r>
              <a:rPr lang="ru-RU" b="1" cap="small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ru-RU" b="1" cap="small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F437ECC-71A9-476E-90F8-EC0111C5C7F3}"/>
              </a:ext>
            </a:extLst>
          </p:cNvPr>
          <p:cNvSpPr txBox="1">
            <a:spLocks/>
          </p:cNvSpPr>
          <p:nvPr/>
        </p:nvSpPr>
        <p:spPr>
          <a:xfrm>
            <a:off x="3140728" y="1124335"/>
            <a:ext cx="2631422" cy="282165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prstDash val="solid"/>
          </a:ln>
        </p:spPr>
        <p:txBody>
          <a:bodyPr vert="horz" wrap="square" lIns="0" tIns="0" rIns="0" bIns="0" rtlCol="0">
            <a:no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sz="1071"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9pPr>
          </a:lstStyle>
          <a:p>
            <a:pPr marL="85725" indent="-85725">
              <a:lnSpc>
                <a:spcPct val="90000"/>
              </a:lnSpc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00" i="1" spc="-2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білім</a:t>
            </a:r>
            <a:r>
              <a:rPr lang="ru-RU" sz="80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800" i="1" spc="-2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ұйымдары</a:t>
            </a:r>
            <a:r>
              <a:rPr lang="ru-RU" sz="80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</a:p>
          <a:p>
            <a:pPr marL="85725" indent="-85725">
              <a:lnSpc>
                <a:spcPct val="90000"/>
              </a:lnSpc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0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бала </a:t>
            </a:r>
            <a:r>
              <a:rPr lang="ru-RU" sz="800" i="1" spc="-2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бақшалар</a:t>
            </a:r>
            <a:r>
              <a:rPr lang="ru-RU" sz="80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</a:p>
          <a:p>
            <a:pPr marL="85725" lvl="0" indent="-85725">
              <a:lnSpc>
                <a:spcPct val="90000"/>
              </a:lnSpc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kk-KZ" sz="80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денсаулық сақтау ұйымдары</a:t>
            </a:r>
            <a:r>
              <a:rPr lang="ru-RU" sz="80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</a:p>
          <a:p>
            <a:pPr marL="85725" indent="-85725"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00" i="1" dirty="0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800" i="1" dirty="0" err="1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дәріханалар</a:t>
            </a:r>
            <a:endParaRPr lang="ru-RU" sz="800" i="1" dirty="0">
              <a:solidFill>
                <a:srgbClr val="1F8A1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85725" indent="-85725"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kk-KZ" sz="800" i="1" dirty="0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кітапханалар</a:t>
            </a:r>
            <a:endParaRPr lang="ru-RU" sz="800" i="1" dirty="0">
              <a:solidFill>
                <a:srgbClr val="1F8A1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85725" indent="-85725"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00" i="1" dirty="0" err="1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тационарлық мәдени-демалыс кешені</a:t>
            </a:r>
            <a:endParaRPr lang="ru-RU" sz="800" i="1" dirty="0" smtClean="0">
              <a:solidFill>
                <a:srgbClr val="1F8A1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85725" indent="-85725"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kk-KZ" sz="800" i="1" dirty="0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порт залдары</a:t>
            </a:r>
            <a:endParaRPr lang="ru-RU" sz="800" i="1" dirty="0">
              <a:solidFill>
                <a:srgbClr val="1F8A1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85725" indent="-85725">
              <a:lnSpc>
                <a:spcPct val="90000"/>
              </a:lnSpc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00" i="1" spc="-2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электрмен</a:t>
            </a:r>
            <a:r>
              <a:rPr lang="ru-RU" sz="80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800" i="1" spc="-2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қамтамасыз ету</a:t>
            </a:r>
            <a:endParaRPr lang="ru-RU" sz="800" i="1" spc="-20" dirty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85725" indent="-85725">
              <a:lnSpc>
                <a:spcPct val="90000"/>
              </a:lnSpc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kk-KZ" sz="80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умен қамтамасыз ету</a:t>
            </a:r>
            <a:endParaRPr lang="ru-RU" sz="800" i="1" spc="-20" dirty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85725" indent="-85725"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00" i="1" dirty="0" err="1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газбен</a:t>
            </a:r>
            <a:r>
              <a:rPr lang="ru-RU" sz="800" i="1" dirty="0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800" i="1" dirty="0" err="1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қамтамасыз ету</a:t>
            </a:r>
            <a:endParaRPr lang="ru-RU" sz="800" i="1" dirty="0">
              <a:solidFill>
                <a:srgbClr val="1F8A1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85725" indent="-85725">
              <a:lnSpc>
                <a:spcPct val="90000"/>
              </a:lnSpc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00" i="1" spc="-2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ауыл</a:t>
            </a:r>
            <a:r>
              <a:rPr lang="ru-RU" sz="80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800" i="1" spc="-2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кругі</a:t>
            </a:r>
            <a:r>
              <a:rPr lang="ru-RU" sz="80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800" i="1" spc="-2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рталығына дейін</a:t>
            </a:r>
            <a:r>
              <a:rPr lang="ru-RU" sz="80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800" i="1" spc="-2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қатты қабатты  жол</a:t>
            </a:r>
            <a:r>
              <a:rPr lang="ru-RU" sz="80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</a:p>
          <a:p>
            <a:pPr marL="85725" indent="-85725">
              <a:lnSpc>
                <a:spcPct val="90000"/>
              </a:lnSpc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0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800" i="1" spc="-2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і</a:t>
            </a:r>
            <a:r>
              <a:rPr lang="ru-RU" sz="800" i="1" dirty="0" err="1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шкі</a:t>
            </a:r>
            <a:r>
              <a:rPr lang="ru-RU" sz="800" i="1" dirty="0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800" i="1" dirty="0" err="1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жолдар</a:t>
            </a:r>
            <a:r>
              <a:rPr lang="ru-RU" sz="800" i="1" dirty="0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800" i="1" dirty="0" err="1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және жолдарды</a:t>
            </a:r>
            <a:r>
              <a:rPr lang="ru-RU" sz="800" i="1" dirty="0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800" i="1" dirty="0" err="1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жарықтандыру</a:t>
            </a:r>
            <a:endParaRPr lang="ru-RU" sz="800" i="1" dirty="0">
              <a:solidFill>
                <a:srgbClr val="1F8A1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85725" indent="-85725">
              <a:lnSpc>
                <a:spcPct val="90000"/>
              </a:lnSpc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00" i="1" spc="-2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жолаушыларғы қызмет көрсету  бекеті</a:t>
            </a:r>
            <a:r>
              <a:rPr lang="ru-RU" sz="80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</a:p>
          <a:p>
            <a:pPr marL="85725" indent="-85725">
              <a:lnSpc>
                <a:spcPct val="90000"/>
              </a:lnSpc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kk-KZ" sz="80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байланыс қызметі</a:t>
            </a:r>
            <a:r>
              <a:rPr lang="ru-RU" sz="80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(телефон/интернет)</a:t>
            </a:r>
          </a:p>
          <a:p>
            <a:pPr marL="85725" indent="-85725"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00" i="1" dirty="0" err="1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ошта</a:t>
            </a:r>
            <a:r>
              <a:rPr lang="ru-RU" sz="800" i="1" dirty="0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800" i="1" dirty="0" err="1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бөліишесі</a:t>
            </a:r>
            <a:r>
              <a:rPr lang="ru-RU" sz="800" i="1" dirty="0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</a:p>
          <a:p>
            <a:pPr marL="85725" indent="-85725"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00" i="1" dirty="0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ХҚК  </a:t>
            </a:r>
            <a:r>
              <a:rPr lang="ru-RU" sz="800" i="1" dirty="0" err="1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мамандарының  қатысуы</a:t>
            </a:r>
            <a:endParaRPr lang="ru-RU" sz="800" i="1" dirty="0" smtClean="0">
              <a:solidFill>
                <a:srgbClr val="1F8A1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85725" indent="-85725"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00" i="1" dirty="0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ӨБ</a:t>
            </a:r>
          </a:p>
          <a:p>
            <a:pPr marL="85725" indent="-85725">
              <a:lnSpc>
                <a:spcPct val="90000"/>
              </a:lnSpc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kk-KZ" sz="80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әкімдік ғимратында өзіне өзі қызмет көрсету аймағы</a:t>
            </a:r>
            <a:endParaRPr lang="kk-KZ" sz="800" i="1" spc="-20" dirty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85725" indent="-85725">
              <a:lnSpc>
                <a:spcPct val="90000"/>
              </a:lnSpc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00" i="1" spc="-2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участкелік</a:t>
            </a:r>
            <a:r>
              <a:rPr lang="ru-RU" sz="80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полиция </a:t>
            </a:r>
            <a:r>
              <a:rPr lang="ru-RU" sz="800" i="1" spc="-2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ункті</a:t>
            </a:r>
            <a:endParaRPr lang="ru-RU" sz="800" i="1" spc="-20" dirty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85725" indent="-85725">
              <a:lnSpc>
                <a:spcPct val="90000"/>
              </a:lnSpc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00" i="1" spc="-2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800" i="1" spc="-2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өртке қарсы қызмет бөлімі</a:t>
            </a:r>
            <a:endParaRPr lang="ru-RU" sz="800" i="1" spc="-20" dirty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85725" indent="-85725"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00" i="1" dirty="0" err="1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азық-түлік тауарлар</a:t>
            </a:r>
            <a:r>
              <a:rPr lang="ru-RU" sz="800" i="1" dirty="0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800" i="1" dirty="0" err="1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дүкендері</a:t>
            </a:r>
            <a:endParaRPr lang="ru-RU" sz="800" i="1" dirty="0">
              <a:solidFill>
                <a:srgbClr val="1F8A1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85725" indent="-85725"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kk-KZ" sz="800" i="1" dirty="0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кәсіпорын тауарлар дүкендері</a:t>
            </a:r>
            <a:endParaRPr lang="ru-RU" sz="800" i="1" dirty="0">
              <a:solidFill>
                <a:srgbClr val="1F8A1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85725" indent="-85725">
              <a:lnSpc>
                <a:spcPct val="90000"/>
              </a:lnSpc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kk-KZ" sz="80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ҚТҚ полигоны</a:t>
            </a:r>
            <a:endParaRPr lang="kk-KZ" sz="800" i="1" spc="-20" dirty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6521116" y="707295"/>
            <a:ext cx="2413334" cy="41684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txBody>
          <a:bodyPr anchor="ctr"/>
          <a:lstStyle/>
          <a:p>
            <a:pPr algn="ctr" defTabSz="690563" fontAlgn="base">
              <a:spcBef>
                <a:spcPct val="0"/>
              </a:spcBef>
              <a:spcAft>
                <a:spcPct val="0"/>
              </a:spcAft>
            </a:pPr>
            <a:r>
              <a:rPr lang="ru-RU" b="1" cap="small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ru-RU" b="1" cap="small" dirty="0" smtClean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 defTabSz="690563" fontAlgn="base">
              <a:spcBef>
                <a:spcPct val="0"/>
              </a:spcBef>
              <a:spcAft>
                <a:spcPct val="0"/>
              </a:spcAft>
            </a:pPr>
            <a:r>
              <a:rPr lang="ru-RU" b="1" cap="small" dirty="0" err="1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удан</a:t>
            </a:r>
            <a:r>
              <a:rPr lang="ru-RU" b="1" cap="small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b="1" cap="small" dirty="0" err="1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рталықтары үшін объектілер/қызметтер </a:t>
            </a:r>
            <a:r>
              <a:rPr lang="ru-RU" b="1" cap="small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йцентров </a:t>
            </a:r>
            <a:endParaRPr lang="ru-RU" b="1" cap="small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1F437ECC-71A9-476E-90F8-EC0111C5C7F3}"/>
              </a:ext>
            </a:extLst>
          </p:cNvPr>
          <p:cNvSpPr txBox="1">
            <a:spLocks/>
          </p:cNvSpPr>
          <p:nvPr/>
        </p:nvSpPr>
        <p:spPr>
          <a:xfrm>
            <a:off x="6096001" y="1124143"/>
            <a:ext cx="2838450" cy="392906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prstDash val="solid"/>
          </a:ln>
        </p:spPr>
        <p:txBody>
          <a:bodyPr vert="horz" wrap="square" lIns="0" tIns="0" rIns="0" bIns="0" rtlCol="0">
            <a:no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sz="1071"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9pPr>
          </a:lstStyle>
          <a:p>
            <a:pPr marL="85725" indent="-85725">
              <a:lnSpc>
                <a:spcPct val="90000"/>
              </a:lnSpc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50" i="1" spc="-2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білім</a:t>
            </a:r>
            <a:r>
              <a:rPr lang="ru-RU" sz="85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850" i="1" spc="-2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ұйымдары</a:t>
            </a:r>
            <a:r>
              <a:rPr lang="ru-RU" sz="85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</a:p>
          <a:p>
            <a:pPr marL="85725" indent="-85725">
              <a:lnSpc>
                <a:spcPct val="90000"/>
              </a:lnSpc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5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бала </a:t>
            </a:r>
            <a:r>
              <a:rPr lang="ru-RU" sz="850" i="1" spc="-2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бақшалар</a:t>
            </a:r>
            <a:r>
              <a:rPr lang="ru-RU" sz="85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</a:p>
          <a:p>
            <a:pPr marL="85725" lvl="0" indent="-85725">
              <a:lnSpc>
                <a:spcPct val="90000"/>
              </a:lnSpc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kk-KZ" sz="85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денсаулық сақтау ұйымдары</a:t>
            </a:r>
            <a:r>
              <a:rPr lang="ru-RU" sz="85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</a:p>
          <a:p>
            <a:pPr marL="85725" indent="-85725"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50" i="1" dirty="0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850" i="1" dirty="0" err="1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дәріханалар</a:t>
            </a:r>
            <a:endParaRPr lang="ru-RU" sz="850" i="1" dirty="0" smtClean="0">
              <a:solidFill>
                <a:srgbClr val="1F8A1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85725" indent="-85725"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kk-KZ" sz="850" i="1" dirty="0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кітапханалар</a:t>
            </a:r>
            <a:endParaRPr lang="ru-RU" sz="850" i="1" dirty="0" smtClean="0">
              <a:solidFill>
                <a:srgbClr val="1F8A1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85725" indent="-85725"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50" i="1" dirty="0" err="1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тационарлық мәдени-демалыс кешені</a:t>
            </a:r>
            <a:endParaRPr lang="ru-RU" sz="850" i="1" dirty="0" smtClean="0">
              <a:solidFill>
                <a:srgbClr val="1F8A1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85725" indent="-85725"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50" i="1" dirty="0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кинотеатр  </a:t>
            </a:r>
            <a:r>
              <a:rPr lang="ru-RU" sz="850" i="1" dirty="0" err="1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немес</a:t>
            </a:r>
            <a:r>
              <a:rPr lang="ru-RU" sz="850" i="1" dirty="0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кинозал</a:t>
            </a:r>
          </a:p>
          <a:p>
            <a:pPr marL="85725" indent="-85725">
              <a:lnSpc>
                <a:spcPct val="90000"/>
              </a:lnSpc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5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порт  </a:t>
            </a:r>
            <a:r>
              <a:rPr lang="ru-RU" sz="850" i="1" spc="-2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залдары</a:t>
            </a:r>
            <a:endParaRPr lang="ru-RU" sz="850" i="1" spc="-20" dirty="0" smtClean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85725" indent="-85725">
              <a:lnSpc>
                <a:spcPct val="90000"/>
              </a:lnSpc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50" i="1" spc="-2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электрмен</a:t>
            </a:r>
            <a:r>
              <a:rPr lang="ru-RU" sz="85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850" i="1" spc="-2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қамтамасыз ету</a:t>
            </a:r>
            <a:endParaRPr lang="ru-RU" sz="850" i="1" spc="-20" dirty="0" smtClean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85725" indent="-85725">
              <a:lnSpc>
                <a:spcPct val="90000"/>
              </a:lnSpc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kk-KZ" sz="85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умен қамтамасыз ету</a:t>
            </a:r>
            <a:endParaRPr lang="ru-RU" sz="850" i="1" spc="-20" dirty="0" smtClean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85725" indent="-85725"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50" i="1" dirty="0" err="1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газбен</a:t>
            </a:r>
            <a:r>
              <a:rPr lang="ru-RU" sz="850" i="1" dirty="0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850" i="1" dirty="0" err="1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қамтамасыз ету</a:t>
            </a:r>
            <a:endParaRPr lang="ru-RU" sz="850" i="1" dirty="0" smtClean="0">
              <a:solidFill>
                <a:srgbClr val="1F8A1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85725" indent="-85725">
              <a:lnSpc>
                <a:spcPct val="90000"/>
              </a:lnSpc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5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850" i="1" spc="-2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блыс</a:t>
            </a:r>
            <a:r>
              <a:rPr lang="ru-RU" sz="85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850" i="1" spc="-2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рталығына дейінгі</a:t>
            </a:r>
            <a:r>
              <a:rPr lang="ru-RU" sz="85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850" i="1" spc="-2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жолдар</a:t>
            </a:r>
            <a:r>
              <a:rPr lang="ru-RU" sz="85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850" i="1" spc="-2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қатты қабатты  жол</a:t>
            </a:r>
            <a:r>
              <a:rPr lang="ru-RU" sz="85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</a:p>
          <a:p>
            <a:pPr marL="85725" indent="-85725"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50" i="1" spc="-2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і</a:t>
            </a:r>
            <a:r>
              <a:rPr lang="ru-RU" sz="850" i="1" dirty="0" err="1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шкі</a:t>
            </a:r>
            <a:r>
              <a:rPr lang="ru-RU" sz="850" i="1" dirty="0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850" i="1" dirty="0" err="1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жолдар</a:t>
            </a:r>
            <a:r>
              <a:rPr lang="ru-RU" sz="850" i="1" dirty="0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850" i="1" dirty="0" err="1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және жолдарды</a:t>
            </a:r>
            <a:r>
              <a:rPr lang="ru-RU" sz="850" i="1" dirty="0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850" i="1" dirty="0" err="1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жарықтандыру</a:t>
            </a:r>
            <a:r>
              <a:rPr lang="ru-RU" sz="850" i="1" dirty="0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</a:p>
          <a:p>
            <a:pPr marL="85725" indent="-85725"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50" i="1" dirty="0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850" i="1" dirty="0" err="1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жаяу</a:t>
            </a:r>
            <a:r>
              <a:rPr lang="ru-RU" sz="850" i="1" dirty="0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850" i="1" dirty="0" err="1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жүрушілер жолдары</a:t>
            </a:r>
            <a:endParaRPr lang="ru-RU" sz="850" i="1" dirty="0" smtClean="0">
              <a:solidFill>
                <a:srgbClr val="1F8A1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85725" indent="-85725">
              <a:lnSpc>
                <a:spcPct val="90000"/>
              </a:lnSpc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5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автостанция  </a:t>
            </a:r>
            <a:r>
              <a:rPr lang="ru-RU" sz="850" i="1" spc="-2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немесе</a:t>
            </a:r>
            <a:r>
              <a:rPr lang="ru-RU" sz="85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850" i="1" spc="-2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жолаушыларғы қызмет көрсету  бекеті</a:t>
            </a:r>
            <a:r>
              <a:rPr lang="ru-RU" sz="85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</a:p>
          <a:p>
            <a:pPr marL="85725" indent="-85725"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kk-KZ" sz="850" i="1" dirty="0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қоғамдық көлік</a:t>
            </a:r>
          </a:p>
          <a:p>
            <a:pPr marL="85725" indent="-85725"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50" i="1" dirty="0" smtClean="0">
                <a:solidFill>
                  <a:srgbClr val="22783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АЗС </a:t>
            </a:r>
            <a:endParaRPr lang="kk-KZ" sz="850" i="1" dirty="0" smtClean="0">
              <a:solidFill>
                <a:prstClr val="black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85725" indent="-85725">
              <a:lnSpc>
                <a:spcPct val="90000"/>
              </a:lnSpc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kk-KZ" sz="85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байланыс қызметі</a:t>
            </a:r>
            <a:r>
              <a:rPr lang="ru-RU" sz="85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(телефон/интернет)</a:t>
            </a:r>
          </a:p>
          <a:p>
            <a:pPr marL="85725" indent="-85725"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50" i="1" dirty="0" err="1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ошта</a:t>
            </a:r>
            <a:r>
              <a:rPr lang="ru-RU" sz="850" i="1" dirty="0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850" i="1" dirty="0" err="1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бөліишесі</a:t>
            </a:r>
            <a:r>
              <a:rPr lang="ru-RU" sz="850" i="1" dirty="0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</a:p>
          <a:p>
            <a:pPr marL="85725" indent="-85725"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50" i="1" dirty="0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ХҚК  </a:t>
            </a:r>
            <a:r>
              <a:rPr lang="ru-RU" sz="850" i="1" dirty="0" err="1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мамандарының  қатысуы</a:t>
            </a:r>
            <a:endParaRPr lang="ru-RU" sz="850" i="1" dirty="0" smtClean="0">
              <a:solidFill>
                <a:srgbClr val="1F8A1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85725" indent="-85725"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50" i="1" dirty="0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ӨБ</a:t>
            </a:r>
          </a:p>
          <a:p>
            <a:pPr marL="85725" indent="-85725">
              <a:lnSpc>
                <a:spcPct val="90000"/>
              </a:lnSpc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50" i="1" spc="-2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участкелік</a:t>
            </a:r>
            <a:r>
              <a:rPr lang="ru-RU" sz="85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полиция </a:t>
            </a:r>
            <a:r>
              <a:rPr lang="ru-RU" sz="850" i="1" spc="-2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ункті</a:t>
            </a:r>
            <a:endParaRPr lang="ru-RU" sz="850" i="1" spc="-20" dirty="0" smtClean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85725" indent="-85725">
              <a:lnSpc>
                <a:spcPct val="90000"/>
              </a:lnSpc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50" i="1" spc="-2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өртке қарсы қызмет бөлімі</a:t>
            </a:r>
            <a:r>
              <a:rPr lang="ru-RU" sz="85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</a:p>
          <a:p>
            <a:pPr marL="85725" indent="-85725">
              <a:lnSpc>
                <a:spcPct val="90000"/>
              </a:lnSpc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50" i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банк </a:t>
            </a:r>
            <a:r>
              <a:rPr lang="ru-RU" sz="850" i="1" spc="-2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бөлімшелері</a:t>
            </a:r>
            <a:endParaRPr lang="ru-RU" sz="850" i="1" dirty="0" smtClean="0">
              <a:solidFill>
                <a:srgbClr val="1F8A1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36000" indent="-85725"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50" i="1" dirty="0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нотариус</a:t>
            </a:r>
          </a:p>
          <a:p>
            <a:pPr marL="36000" indent="-85725"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kk-KZ" sz="850" i="1" dirty="0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қоғамдыық тамақтану</a:t>
            </a:r>
          </a:p>
          <a:p>
            <a:pPr marL="36000" indent="-85725"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kk-KZ" sz="850" i="1" dirty="0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қоғамдық монша</a:t>
            </a:r>
            <a:endParaRPr lang="ru-RU" sz="850" i="1" dirty="0" smtClean="0">
              <a:solidFill>
                <a:srgbClr val="1F8A1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50800" indent="-101600"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50" i="1" dirty="0" err="1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азық-түлік тауарлар</a:t>
            </a:r>
            <a:r>
              <a:rPr lang="ru-RU" sz="850" i="1" dirty="0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850" i="1" dirty="0" err="1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дүкендері</a:t>
            </a:r>
            <a:endParaRPr lang="ru-RU" sz="850" i="1" dirty="0" smtClean="0">
              <a:solidFill>
                <a:srgbClr val="1F8A1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50800" indent="-101600"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50" i="1" dirty="0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850" i="1" dirty="0" err="1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кәсіпорын тауарлар</a:t>
            </a:r>
            <a:r>
              <a:rPr lang="ru-RU" sz="850" i="1" dirty="0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850" i="1" dirty="0" err="1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дүкендері</a:t>
            </a:r>
            <a:endParaRPr lang="ru-RU" sz="850" i="1" dirty="0" smtClean="0">
              <a:solidFill>
                <a:srgbClr val="1F8A1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50800" indent="-101600"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50" i="1" dirty="0" smtClean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ҚТҚ полигоны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76212" y="4043885"/>
            <a:ext cx="555783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61950" algn="ctr"/>
            <a:r>
              <a:rPr lang="ru-RU" b="1" spc="-2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Өңірлік стандарттар</a:t>
            </a:r>
            <a:r>
              <a:rPr lang="ru-RU" b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b="1" spc="-2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жүйесі </a:t>
            </a:r>
            <a:r>
              <a:rPr lang="ru-RU" b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(ӨСЖ) </a:t>
            </a:r>
            <a:r>
              <a:rPr lang="ru-RU" spc="-2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бъектілер</a:t>
            </a:r>
            <a:r>
              <a:rPr lang="ru-RU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мен </a:t>
            </a:r>
            <a:r>
              <a:rPr lang="ru-RU" spc="-2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қызметтердің </a:t>
            </a:r>
            <a:r>
              <a:rPr lang="ru-RU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(</a:t>
            </a:r>
            <a:r>
              <a:rPr lang="ru-RU" spc="-2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жеңілдіктер</a:t>
            </a:r>
            <a:r>
              <a:rPr lang="ru-RU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) </a:t>
            </a:r>
            <a:r>
              <a:rPr lang="ru-RU" spc="-2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халыққа қол жетімділігінің ең төменгі міндетті</a:t>
            </a:r>
            <a:r>
              <a:rPr lang="ru-RU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pc="-2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деңгейін қамтамасыз етуді</a:t>
            </a:r>
            <a:r>
              <a:rPr lang="ru-RU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pc="-2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көздейді</a:t>
            </a:r>
            <a:r>
              <a:rPr lang="ru-RU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.</a:t>
            </a:r>
            <a:endParaRPr lang="ru-RU" spc="-20" dirty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4" name="Овал 53">
            <a:extLst>
              <a:ext uri="{FF2B5EF4-FFF2-40B4-BE49-F238E27FC236}">
                <a16:creationId xmlns:a16="http://schemas.microsoft.com/office/drawing/2014/main" id="{7BD827A1-8C2F-4BB8-A33F-AA7BB97EB477}"/>
              </a:ext>
            </a:extLst>
          </p:cNvPr>
          <p:cNvSpPr/>
          <p:nvPr/>
        </p:nvSpPr>
        <p:spPr>
          <a:xfrm>
            <a:off x="44280" y="628905"/>
            <a:ext cx="562172" cy="41375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ru-RU" b="1" spc="-20" dirty="0" smtClean="0">
                <a:solidFill>
                  <a:srgbClr val="003399"/>
                </a:solidFill>
                <a:ea typeface="Tahoma" pitchFamily="34" charset="0"/>
                <a:cs typeface="Tahoma" pitchFamily="34" charset="0"/>
              </a:rPr>
              <a:t>12</a:t>
            </a:r>
            <a:endParaRPr lang="ru-RU" b="1" spc="-20" dirty="0">
              <a:solidFill>
                <a:srgbClr val="003399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55" name="Овал 54">
            <a:extLst>
              <a:ext uri="{FF2B5EF4-FFF2-40B4-BE49-F238E27FC236}">
                <a16:creationId xmlns:a16="http://schemas.microsoft.com/office/drawing/2014/main" id="{7BD827A1-8C2F-4BB8-A33F-AA7BB97EB477}"/>
              </a:ext>
            </a:extLst>
          </p:cNvPr>
          <p:cNvSpPr/>
          <p:nvPr/>
        </p:nvSpPr>
        <p:spPr>
          <a:xfrm>
            <a:off x="2734813" y="646593"/>
            <a:ext cx="562172" cy="41375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ru-RU" b="1" spc="-20" dirty="0" smtClean="0">
                <a:solidFill>
                  <a:srgbClr val="003399"/>
                </a:solidFill>
                <a:ea typeface="Tahoma" pitchFamily="34" charset="0"/>
                <a:cs typeface="Tahoma" pitchFamily="34" charset="0"/>
              </a:rPr>
              <a:t>24</a:t>
            </a:r>
            <a:endParaRPr lang="ru-RU" b="1" spc="-20" dirty="0">
              <a:solidFill>
                <a:srgbClr val="003399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56" name="Овал 55">
            <a:extLst>
              <a:ext uri="{FF2B5EF4-FFF2-40B4-BE49-F238E27FC236}">
                <a16:creationId xmlns:a16="http://schemas.microsoft.com/office/drawing/2014/main" id="{7BD827A1-8C2F-4BB8-A33F-AA7BB97EB477}"/>
              </a:ext>
            </a:extLst>
          </p:cNvPr>
          <p:cNvSpPr/>
          <p:nvPr/>
        </p:nvSpPr>
        <p:spPr>
          <a:xfrm>
            <a:off x="6039267" y="652845"/>
            <a:ext cx="562172" cy="41375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ru-RU" b="1" spc="-20" dirty="0">
                <a:solidFill>
                  <a:srgbClr val="003399"/>
                </a:solidFill>
                <a:ea typeface="Tahoma" pitchFamily="34" charset="0"/>
                <a:cs typeface="Tahoma" pitchFamily="34" charset="0"/>
              </a:rPr>
              <a:t>3</a:t>
            </a:r>
            <a:r>
              <a:rPr lang="ru-RU" b="1" spc="-20" dirty="0" smtClean="0">
                <a:solidFill>
                  <a:srgbClr val="003399"/>
                </a:solidFill>
                <a:ea typeface="Tahoma" pitchFamily="34" charset="0"/>
                <a:cs typeface="Tahoma" pitchFamily="34" charset="0"/>
              </a:rPr>
              <a:t>2</a:t>
            </a:r>
            <a:endParaRPr lang="ru-RU" b="1" spc="-20" dirty="0">
              <a:solidFill>
                <a:srgbClr val="003399"/>
              </a:solidFill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620611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Прямоугольник 16"/>
          <p:cNvSpPr>
            <a:spLocks noChangeArrowheads="1"/>
          </p:cNvSpPr>
          <p:nvPr/>
        </p:nvSpPr>
        <p:spPr bwMode="auto">
          <a:xfrm>
            <a:off x="8915400" y="4903788"/>
            <a:ext cx="30008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ru-RU" sz="900" b="1" dirty="0" smtClean="0"/>
              <a:t>16</a:t>
            </a:r>
            <a:endParaRPr lang="ru-RU" altLang="ru-RU" sz="900" b="1" dirty="0"/>
          </a:p>
        </p:txBody>
      </p:sp>
      <p:grpSp>
        <p:nvGrpSpPr>
          <p:cNvPr id="4099" name="Группа 22"/>
          <p:cNvGrpSpPr>
            <a:grpSpLocks/>
          </p:cNvGrpSpPr>
          <p:nvPr/>
        </p:nvGrpSpPr>
        <p:grpSpPr bwMode="auto">
          <a:xfrm>
            <a:off x="6537528" y="620713"/>
            <a:ext cx="263525" cy="3816350"/>
            <a:chOff x="6025376" y="801927"/>
            <a:chExt cx="351450" cy="4245107"/>
          </a:xfrm>
        </p:grpSpPr>
        <p:cxnSp>
          <p:nvCxnSpPr>
            <p:cNvPr id="4104" name="Google Shape;276;p4"/>
            <p:cNvCxnSpPr>
              <a:cxnSpLocks/>
            </p:cNvCxnSpPr>
            <p:nvPr/>
          </p:nvCxnSpPr>
          <p:spPr bwMode="auto">
            <a:xfrm>
              <a:off x="6201101" y="801927"/>
              <a:ext cx="0" cy="1698028"/>
            </a:xfrm>
            <a:prstGeom prst="straightConnector1">
              <a:avLst/>
            </a:prstGeom>
            <a:noFill/>
            <a:ln w="12700">
              <a:solidFill>
                <a:srgbClr val="D9D9D9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grpSp>
          <p:nvGrpSpPr>
            <p:cNvPr id="4105" name="Группа 99"/>
            <p:cNvGrpSpPr>
              <a:grpSpLocks/>
            </p:cNvGrpSpPr>
            <p:nvPr/>
          </p:nvGrpSpPr>
          <p:grpSpPr bwMode="auto">
            <a:xfrm rot="10800000" flipH="1">
              <a:off x="6025376" y="2655495"/>
              <a:ext cx="351450" cy="537970"/>
              <a:chOff x="5048874" y="1509126"/>
              <a:chExt cx="459230" cy="630576"/>
            </a:xfrm>
          </p:grpSpPr>
          <p:sp>
            <p:nvSpPr>
              <p:cNvPr id="27" name="Chevron2">
                <a:extLst>
                  <a:ext uri="{FF2B5EF4-FFF2-40B4-BE49-F238E27FC236}">
                    <a16:creationId xmlns:a16="http://schemas.microsoft.com/office/drawing/2014/main" id="{51E339DE-611C-4C91-AE95-EB5B0769CF6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048874" y="1549127"/>
                <a:ext cx="243447" cy="550573"/>
              </a:xfrm>
              <a:custGeom>
                <a:avLst/>
                <a:gdLst/>
                <a:ahLst/>
                <a:cxnLst/>
                <a:rect l="0" t="0" r="0" b="0"/>
                <a:pathLst>
                  <a:path w="2984501" h="5080001">
                    <a:moveTo>
                      <a:pt x="0" y="0"/>
                    </a:moveTo>
                    <a:lnTo>
                      <a:pt x="1524000" y="0"/>
                    </a:lnTo>
                    <a:lnTo>
                      <a:pt x="2984500" y="2540000"/>
                    </a:lnTo>
                    <a:lnTo>
                      <a:pt x="1524000" y="5080000"/>
                    </a:lnTo>
                    <a:lnTo>
                      <a:pt x="0" y="5080000"/>
                    </a:lnTo>
                    <a:lnTo>
                      <a:pt x="1460500" y="2540000"/>
                    </a:lnTo>
                    <a:close/>
                  </a:path>
                </a:pathLst>
              </a:custGeom>
              <a:solidFill>
                <a:srgbClr val="0065BD"/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68580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 err="1">
                  <a:solidFill>
                    <a:srgbClr val="000000"/>
                  </a:solidFill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endParaRPr>
              </a:p>
            </p:txBody>
          </p:sp>
          <p:sp>
            <p:nvSpPr>
              <p:cNvPr id="28" name="Chevron2">
                <a:extLst>
                  <a:ext uri="{FF2B5EF4-FFF2-40B4-BE49-F238E27FC236}">
                    <a16:creationId xmlns:a16="http://schemas.microsoft.com/office/drawing/2014/main" id="{C3002AB5-9665-4A5E-8675-96DF4B21E0C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223159" y="1509800"/>
                <a:ext cx="279412" cy="629227"/>
              </a:xfrm>
              <a:custGeom>
                <a:avLst/>
                <a:gdLst/>
                <a:ahLst/>
                <a:cxnLst/>
                <a:rect l="0" t="0" r="0" b="0"/>
                <a:pathLst>
                  <a:path w="2984501" h="5080001">
                    <a:moveTo>
                      <a:pt x="0" y="0"/>
                    </a:moveTo>
                    <a:lnTo>
                      <a:pt x="1524000" y="0"/>
                    </a:lnTo>
                    <a:lnTo>
                      <a:pt x="2984500" y="2540000"/>
                    </a:lnTo>
                    <a:lnTo>
                      <a:pt x="1524000" y="5080000"/>
                    </a:lnTo>
                    <a:lnTo>
                      <a:pt x="0" y="5080000"/>
                    </a:lnTo>
                    <a:lnTo>
                      <a:pt x="1460500" y="2540000"/>
                    </a:lnTo>
                    <a:close/>
                  </a:path>
                </a:pathLst>
              </a:custGeom>
              <a:solidFill>
                <a:srgbClr val="A6A6A6"/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68580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 err="1">
                  <a:solidFill>
                    <a:srgbClr val="000000"/>
                  </a:solidFill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endParaRPr>
              </a:p>
            </p:txBody>
          </p:sp>
        </p:grpSp>
        <p:cxnSp>
          <p:nvCxnSpPr>
            <p:cNvPr id="4106" name="Google Shape;276;p4"/>
            <p:cNvCxnSpPr>
              <a:cxnSpLocks/>
            </p:cNvCxnSpPr>
            <p:nvPr/>
          </p:nvCxnSpPr>
          <p:spPr bwMode="auto">
            <a:xfrm>
              <a:off x="6201101" y="3349006"/>
              <a:ext cx="0" cy="1698028"/>
            </a:xfrm>
            <a:prstGeom prst="straightConnector1">
              <a:avLst/>
            </a:prstGeom>
            <a:noFill/>
            <a:ln w="12700">
              <a:solidFill>
                <a:srgbClr val="D9D9D9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5" name="TextBox 4"/>
          <p:cNvSpPr txBox="1"/>
          <p:nvPr/>
        </p:nvSpPr>
        <p:spPr>
          <a:xfrm>
            <a:off x="6748287" y="1794164"/>
            <a:ext cx="2483139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kern="0" dirty="0" smtClean="0">
                <a:solidFill>
                  <a:srgbClr val="002060"/>
                </a:solidFill>
                <a:latin typeface="+mn-lt"/>
                <a:ea typeface="Tahoma" panose="020B0604030504040204" pitchFamily="34" charset="0"/>
                <a:cs typeface="Arial" pitchFamily="34" charset="0"/>
              </a:rPr>
              <a:t>2021 </a:t>
            </a:r>
            <a:r>
              <a:rPr lang="ru-RU" sz="1800" kern="0" dirty="0" err="1" smtClean="0">
                <a:solidFill>
                  <a:srgbClr val="002060"/>
                </a:solidFill>
                <a:latin typeface="+mn-lt"/>
                <a:ea typeface="Tahoma" panose="020B0604030504040204" pitchFamily="34" charset="0"/>
                <a:cs typeface="Arial" pitchFamily="34" charset="0"/>
              </a:rPr>
              <a:t>жылға</a:t>
            </a:r>
            <a:r>
              <a:rPr lang="ru-RU" sz="1800" kern="0" dirty="0" smtClean="0">
                <a:solidFill>
                  <a:srgbClr val="002060"/>
                </a:solidFill>
                <a:latin typeface="+mn-lt"/>
                <a:ea typeface="Tahoma" panose="020B0604030504040204" pitchFamily="34" charset="0"/>
                <a:cs typeface="Arial" pitchFamily="34" charset="0"/>
              </a:rPr>
              <a:t> </a:t>
            </a:r>
            <a:r>
              <a:rPr lang="ru-RU" sz="1800" kern="0" dirty="0" err="1" smtClean="0">
                <a:solidFill>
                  <a:srgbClr val="002060"/>
                </a:solidFill>
                <a:latin typeface="+mn-lt"/>
                <a:ea typeface="Tahoma" panose="020B0604030504040204" pitchFamily="34" charset="0"/>
                <a:cs typeface="Arial" pitchFamily="34" charset="0"/>
              </a:rPr>
              <a:t>ауылдардың</a:t>
            </a:r>
            <a:r>
              <a:rPr lang="ru-RU" sz="1800" kern="0" dirty="0" smtClean="0">
                <a:solidFill>
                  <a:srgbClr val="002060"/>
                </a:solidFill>
                <a:latin typeface="+mn-lt"/>
                <a:ea typeface="Tahoma" panose="020B0604030504040204" pitchFamily="34" charset="0"/>
                <a:cs typeface="Arial" pitchFamily="34" charset="0"/>
              </a:rPr>
              <a:t> </a:t>
            </a:r>
            <a:r>
              <a:rPr lang="ru-RU" sz="1800" kern="0" dirty="0" err="1" smtClean="0">
                <a:solidFill>
                  <a:srgbClr val="002060"/>
                </a:solidFill>
                <a:latin typeface="+mn-lt"/>
                <a:ea typeface="Tahoma" panose="020B0604030504040204" pitchFamily="34" charset="0"/>
                <a:cs typeface="Arial" pitchFamily="34" charset="0"/>
              </a:rPr>
              <a:t>өңірлік</a:t>
            </a:r>
            <a:r>
              <a:rPr lang="ru-RU" sz="1800" kern="0" dirty="0" smtClean="0">
                <a:solidFill>
                  <a:srgbClr val="002060"/>
                </a:solidFill>
                <a:latin typeface="+mn-lt"/>
                <a:ea typeface="Tahoma" panose="020B0604030504040204" pitchFamily="34" charset="0"/>
                <a:cs typeface="Arial" pitchFamily="34" charset="0"/>
              </a:rPr>
              <a:t> </a:t>
            </a:r>
            <a:r>
              <a:rPr lang="ru-RU" sz="1800" kern="0" dirty="0" err="1" smtClean="0">
                <a:solidFill>
                  <a:srgbClr val="002060"/>
                </a:solidFill>
                <a:latin typeface="+mn-lt"/>
                <a:ea typeface="Tahoma" panose="020B0604030504040204" pitchFamily="34" charset="0"/>
                <a:cs typeface="Arial" pitchFamily="34" charset="0"/>
              </a:rPr>
              <a:t>стандарттарға</a:t>
            </a:r>
            <a:r>
              <a:rPr lang="ru-RU" sz="1800" kern="0" dirty="0" smtClean="0">
                <a:solidFill>
                  <a:srgbClr val="002060"/>
                </a:solidFill>
                <a:latin typeface="+mn-lt"/>
                <a:ea typeface="Tahoma" panose="020B0604030504040204" pitchFamily="34" charset="0"/>
                <a:cs typeface="Arial" pitchFamily="34" charset="0"/>
              </a:rPr>
              <a:t> </a:t>
            </a:r>
            <a:r>
              <a:rPr lang="ru-RU" sz="1800" kern="0" dirty="0" err="1" smtClean="0">
                <a:solidFill>
                  <a:srgbClr val="002060"/>
                </a:solidFill>
                <a:latin typeface="+mn-lt"/>
                <a:ea typeface="Tahoma" panose="020B0604030504040204" pitchFamily="34" charset="0"/>
                <a:cs typeface="Arial" pitchFamily="34" charset="0"/>
              </a:rPr>
              <a:t>сәйкес</a:t>
            </a:r>
            <a:r>
              <a:rPr lang="ru-RU" sz="1800" kern="0" dirty="0" smtClean="0">
                <a:solidFill>
                  <a:srgbClr val="002060"/>
                </a:solidFill>
                <a:latin typeface="+mn-lt"/>
                <a:ea typeface="Tahoma" panose="020B0604030504040204" pitchFamily="34" charset="0"/>
                <a:cs typeface="Arial" pitchFamily="34" charset="0"/>
              </a:rPr>
              <a:t> </a:t>
            </a:r>
            <a:r>
              <a:rPr lang="ru-RU" sz="1800" kern="0" dirty="0" err="1" smtClean="0">
                <a:solidFill>
                  <a:srgbClr val="002060"/>
                </a:solidFill>
                <a:latin typeface="+mn-lt"/>
                <a:ea typeface="Tahoma" panose="020B0604030504040204" pitchFamily="34" charset="0"/>
                <a:cs typeface="Arial" pitchFamily="34" charset="0"/>
              </a:rPr>
              <a:t>орташа</a:t>
            </a:r>
            <a:r>
              <a:rPr lang="ru-RU" sz="1800" kern="0" dirty="0" smtClean="0">
                <a:solidFill>
                  <a:srgbClr val="002060"/>
                </a:solidFill>
                <a:latin typeface="+mn-lt"/>
                <a:ea typeface="Tahoma" panose="020B0604030504040204" pitchFamily="34" charset="0"/>
                <a:cs typeface="Arial" pitchFamily="34" charset="0"/>
              </a:rPr>
              <a:t> </a:t>
            </a:r>
            <a:r>
              <a:rPr lang="ru-RU" sz="1800" kern="0" dirty="0" err="1" smtClean="0">
                <a:solidFill>
                  <a:srgbClr val="002060"/>
                </a:solidFill>
                <a:latin typeface="+mn-lt"/>
                <a:ea typeface="Tahoma" panose="020B0604030504040204" pitchFamily="34" charset="0"/>
                <a:cs typeface="Arial" pitchFamily="34" charset="0"/>
              </a:rPr>
              <a:t>қамтамасыз</a:t>
            </a:r>
            <a:r>
              <a:rPr lang="ru-RU" sz="1800" kern="0" dirty="0" smtClean="0">
                <a:solidFill>
                  <a:srgbClr val="002060"/>
                </a:solidFill>
                <a:latin typeface="+mn-lt"/>
                <a:ea typeface="Tahoma" panose="020B0604030504040204" pitchFamily="34" charset="0"/>
                <a:cs typeface="Arial" pitchFamily="34" charset="0"/>
              </a:rPr>
              <a:t> </a:t>
            </a:r>
            <a:r>
              <a:rPr lang="ru-RU" sz="1800" kern="0" dirty="0" err="1" smtClean="0">
                <a:solidFill>
                  <a:srgbClr val="002060"/>
                </a:solidFill>
                <a:latin typeface="+mn-lt"/>
                <a:ea typeface="Tahoma" panose="020B0604030504040204" pitchFamily="34" charset="0"/>
                <a:cs typeface="Arial" pitchFamily="34" charset="0"/>
              </a:rPr>
              <a:t>етуі</a:t>
            </a:r>
            <a:r>
              <a:rPr lang="ru-RU" sz="1800" kern="0" dirty="0" smtClean="0">
                <a:solidFill>
                  <a:srgbClr val="002060"/>
                </a:solidFill>
                <a:latin typeface="+mn-lt"/>
                <a:ea typeface="Tahoma" panose="020B0604030504040204" pitchFamily="34" charset="0"/>
                <a:cs typeface="Arial" pitchFamily="34" charset="0"/>
              </a:rPr>
              <a:t> </a:t>
            </a:r>
            <a:r>
              <a:rPr lang="ru-RU" sz="2000" b="1" kern="0" dirty="0" smtClean="0">
                <a:solidFill>
                  <a:srgbClr val="00CC5C"/>
                </a:solidFill>
                <a:latin typeface="+mn-lt"/>
                <a:ea typeface="Tahoma" panose="020B0604030504040204" pitchFamily="34" charset="0"/>
                <a:cs typeface="Arial" pitchFamily="34" charset="0"/>
              </a:rPr>
              <a:t>62,5% </a:t>
            </a:r>
            <a:r>
              <a:rPr lang="ru-RU" sz="1600" kern="0" dirty="0" smtClean="0">
                <a:solidFill>
                  <a:srgbClr val="002060"/>
                </a:solidFill>
                <a:latin typeface="+mn-lt"/>
                <a:ea typeface="Tahoma" panose="020B0604030504040204" pitchFamily="34" charset="0"/>
                <a:cs typeface="Arial" pitchFamily="34" charset="0"/>
              </a:rPr>
              <a:t>(2020 </a:t>
            </a:r>
            <a:r>
              <a:rPr lang="ru-RU" sz="1600" kern="0" dirty="0" err="1" smtClean="0">
                <a:solidFill>
                  <a:srgbClr val="002060"/>
                </a:solidFill>
                <a:latin typeface="+mn-lt"/>
                <a:ea typeface="Tahoma" panose="020B0604030504040204" pitchFamily="34" charset="0"/>
                <a:cs typeface="Arial" pitchFamily="34" charset="0"/>
              </a:rPr>
              <a:t>жылы</a:t>
            </a:r>
            <a:r>
              <a:rPr lang="ru-RU" sz="1600" kern="0" dirty="0" smtClean="0">
                <a:solidFill>
                  <a:srgbClr val="002060"/>
                </a:solidFill>
                <a:latin typeface="+mn-lt"/>
                <a:ea typeface="Tahoma" panose="020B0604030504040204" pitchFamily="34" charset="0"/>
                <a:cs typeface="Arial" pitchFamily="34" charset="0"/>
              </a:rPr>
              <a:t> 60,3%)</a:t>
            </a:r>
            <a:endParaRPr lang="ru-RU" sz="1600" kern="0" dirty="0">
              <a:solidFill>
                <a:srgbClr val="002060"/>
              </a:solidFill>
              <a:latin typeface="+mn-lt"/>
              <a:ea typeface="Tahoma" panose="020B0604030504040204" pitchFamily="34" charset="0"/>
              <a:cs typeface="Arial" pitchFamily="34" charset="0"/>
            </a:endParaRPr>
          </a:p>
        </p:txBody>
      </p:sp>
      <p:sp>
        <p:nvSpPr>
          <p:cNvPr id="18" name="Заголовок 1"/>
          <p:cNvSpPr txBox="1">
            <a:spLocks/>
          </p:cNvSpPr>
          <p:nvPr/>
        </p:nvSpPr>
        <p:spPr>
          <a:xfrm>
            <a:off x="0" y="33338"/>
            <a:ext cx="9102725" cy="476250"/>
          </a:xfrm>
          <a:prstGeom prst="rect">
            <a:avLst/>
          </a:prstGeom>
        </p:spPr>
        <p:txBody>
          <a:bodyPr lIns="91394" tIns="45696" rIns="91394" bIns="45696" anchor="ctr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algn="ctr" defTabSz="91393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900" b="1" cap="small" dirty="0" smtClean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2021 </a:t>
            </a:r>
            <a:r>
              <a:rPr lang="kk-KZ" sz="1900" b="1" cap="small" dirty="0" smtClean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жылғы АЕМ СӨЖ сәйкес қамтамасыз етуі</a:t>
            </a:r>
            <a:endParaRPr lang="ru-RU" sz="1900" b="1" cap="small" dirty="0">
              <a:solidFill>
                <a:srgbClr val="0070C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19" name="Straight Connector 32">
            <a:extLst>
              <a:ext uri="{FF2B5EF4-FFF2-40B4-BE49-F238E27FC236}">
                <a16:creationId xmlns:a16="http://schemas.microsoft.com/office/drawing/2014/main" id="{C390578C-F995-47B7-B532-7EBDB11C3BB5}"/>
              </a:ext>
            </a:extLst>
          </p:cNvPr>
          <p:cNvCxnSpPr/>
          <p:nvPr/>
        </p:nvCxnSpPr>
        <p:spPr>
          <a:xfrm>
            <a:off x="0" y="565150"/>
            <a:ext cx="9144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03" name="Диаграмма 13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724" y="622300"/>
            <a:ext cx="6455941" cy="4278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2751517" y="769623"/>
            <a:ext cx="55132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 smtClean="0"/>
              <a:t>71,1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2751517" y="1037582"/>
            <a:ext cx="55132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 smtClean="0"/>
              <a:t>70,8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2751517" y="1305541"/>
            <a:ext cx="55132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 smtClean="0"/>
              <a:t>69,7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2751516" y="1573500"/>
            <a:ext cx="55132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 smtClean="0"/>
              <a:t>69,8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751516" y="1841459"/>
            <a:ext cx="55132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 smtClean="0"/>
              <a:t>72,4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2751516" y="2104733"/>
            <a:ext cx="55132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 smtClean="0"/>
              <a:t>67,3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2751516" y="2377377"/>
            <a:ext cx="55132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 smtClean="0"/>
              <a:t>66,0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2751516" y="2649551"/>
            <a:ext cx="55132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 smtClean="0"/>
              <a:t>64,1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2751516" y="2913295"/>
            <a:ext cx="55132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 smtClean="0"/>
              <a:t>61,9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2751516" y="3183865"/>
            <a:ext cx="55132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 smtClean="0"/>
              <a:t>63,3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2751516" y="3447609"/>
            <a:ext cx="55132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 smtClean="0"/>
              <a:t>58,9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2751516" y="3718179"/>
            <a:ext cx="55132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 smtClean="0"/>
              <a:t>55,8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2751516" y="3981923"/>
            <a:ext cx="55132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 smtClean="0"/>
              <a:t>56,8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2751516" y="4252493"/>
            <a:ext cx="55132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 smtClean="0"/>
              <a:t>53,6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2751516" y="4509929"/>
            <a:ext cx="55132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 smtClean="0"/>
              <a:t>59,7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4045520" y="776645"/>
            <a:ext cx="55132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 smtClean="0"/>
              <a:t>61,0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4043932" y="1037582"/>
            <a:ext cx="55132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 smtClean="0"/>
              <a:t>68,5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4043932" y="1312563"/>
            <a:ext cx="55132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 smtClean="0"/>
              <a:t>56,0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4046584" y="1573500"/>
            <a:ext cx="55132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 smtClean="0"/>
              <a:t>65,7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4050124" y="1841459"/>
            <a:ext cx="55132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 smtClean="0"/>
              <a:t>73,6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4034968" y="2109418"/>
            <a:ext cx="55132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 smtClean="0"/>
              <a:t>61,9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4043932" y="2377963"/>
            <a:ext cx="55132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 smtClean="0"/>
              <a:t>59,5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4044016" y="2649550"/>
            <a:ext cx="55132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 smtClean="0"/>
              <a:t>60,3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4044272" y="2913294"/>
            <a:ext cx="55132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 smtClean="0"/>
              <a:t>58,3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4047540" y="3174232"/>
            <a:ext cx="55132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 smtClean="0"/>
              <a:t>57,7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4034968" y="3447609"/>
            <a:ext cx="55132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 smtClean="0"/>
              <a:t>54,8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4032250" y="3716154"/>
            <a:ext cx="55132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 smtClean="0"/>
              <a:t>55,1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4043932" y="3970501"/>
            <a:ext cx="55132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 smtClean="0"/>
              <a:t>56,0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4032250" y="4245668"/>
            <a:ext cx="55132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 smtClean="0"/>
              <a:t>52,1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4033651" y="4507005"/>
            <a:ext cx="55132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 smtClean="0"/>
              <a:t>56,0</a:t>
            </a:r>
          </a:p>
        </p:txBody>
      </p:sp>
    </p:spTree>
    <p:extLst>
      <p:ext uri="{BB962C8B-B14F-4D97-AF65-F5344CB8AC3E}">
        <p14:creationId xmlns:p14="http://schemas.microsoft.com/office/powerpoint/2010/main" val="4220527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Прямоугольник 47">
            <a:extLst>
              <a:ext uri="{FF2B5EF4-FFF2-40B4-BE49-F238E27FC236}">
                <a16:creationId xmlns:a16="http://schemas.microsoft.com/office/drawing/2014/main" id="{78CF557C-63FA-4B33-9D9B-C3046729A113}"/>
              </a:ext>
            </a:extLst>
          </p:cNvPr>
          <p:cNvSpPr/>
          <p:nvPr/>
        </p:nvSpPr>
        <p:spPr>
          <a:xfrm>
            <a:off x="-3595" y="2575390"/>
            <a:ext cx="9144000" cy="1024931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4" tIns="45696" rIns="91394" bIns="45696" rtlCol="0" anchor="ctr"/>
          <a:lstStyle/>
          <a:p>
            <a:pPr algn="ctr" defTabSz="913936" eaLnBrk="1" hangingPunct="1">
              <a:defRPr/>
            </a:pPr>
            <a:endParaRPr lang="x-none" sz="1600" dirty="0" err="1">
              <a:solidFill>
                <a:srgbClr val="000000"/>
              </a:solidFill>
              <a:latin typeface="Segoe UI Light"/>
              <a:ea typeface="ＭＳ Ｐゴシック"/>
            </a:endParaRPr>
          </a:p>
        </p:txBody>
      </p:sp>
      <p:cxnSp>
        <p:nvCxnSpPr>
          <p:cNvPr id="34" name="Straight Arrow Connector 33"/>
          <p:cNvCxnSpPr/>
          <p:nvPr/>
        </p:nvCxnSpPr>
        <p:spPr>
          <a:xfrm>
            <a:off x="205673" y="3058645"/>
            <a:ext cx="8732655" cy="0"/>
          </a:xfrm>
          <a:prstGeom prst="straightConnector1">
            <a:avLst/>
          </a:prstGeom>
          <a:ln w="1905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Заголовок 1"/>
          <p:cNvSpPr txBox="1">
            <a:spLocks/>
          </p:cNvSpPr>
          <p:nvPr/>
        </p:nvSpPr>
        <p:spPr>
          <a:xfrm>
            <a:off x="0" y="-1582"/>
            <a:ext cx="9144000" cy="603251"/>
          </a:xfrm>
          <a:prstGeom prst="rect">
            <a:avLst/>
          </a:prstGeom>
        </p:spPr>
        <p:txBody>
          <a:bodyPr lIns="91394" tIns="45696" rIns="91394" bIns="45696" anchor="ctr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algn="ctr" defTabSz="91393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u="sng" cap="small" dirty="0" smtClean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2021-2025  ЖЫЛДАРЫ </a:t>
            </a:r>
            <a:r>
              <a:rPr lang="ru-RU" sz="1800" b="1" cap="small" dirty="0" smtClean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«АУЫЛ – ЕЛ БЕСІГІ» ЖОБАСЫН ҚАРЖЫЛАНДЫРУ  </a:t>
            </a:r>
            <a:endParaRPr lang="ru-RU" sz="1800" b="1" cap="small" dirty="0">
              <a:solidFill>
                <a:srgbClr val="0070C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20" name="Straight Connector 32"/>
          <p:cNvCxnSpPr/>
          <p:nvPr/>
        </p:nvCxnSpPr>
        <p:spPr>
          <a:xfrm>
            <a:off x="0" y="580940"/>
            <a:ext cx="9144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Группа 38">
            <a:extLst>
              <a:ext uri="{FF2B5EF4-FFF2-40B4-BE49-F238E27FC236}">
                <a16:creationId xmlns:a16="http://schemas.microsoft.com/office/drawing/2014/main" id="{EC23B0CA-8E88-4587-9A41-91531DBD59E2}"/>
              </a:ext>
            </a:extLst>
          </p:cNvPr>
          <p:cNvGrpSpPr/>
          <p:nvPr/>
        </p:nvGrpSpPr>
        <p:grpSpPr>
          <a:xfrm>
            <a:off x="78722" y="853940"/>
            <a:ext cx="8986557" cy="648000"/>
            <a:chOff x="78722" y="672706"/>
            <a:chExt cx="8986557" cy="537307"/>
          </a:xfrm>
        </p:grpSpPr>
        <p:grpSp>
          <p:nvGrpSpPr>
            <p:cNvPr id="15" name="Группа 37">
              <a:extLst>
                <a:ext uri="{FF2B5EF4-FFF2-40B4-BE49-F238E27FC236}">
                  <a16:creationId xmlns:a16="http://schemas.microsoft.com/office/drawing/2014/main" id="{B888B5E8-0D43-43DD-9C07-5B11D41A85C1}"/>
                </a:ext>
              </a:extLst>
            </p:cNvPr>
            <p:cNvGrpSpPr/>
            <p:nvPr/>
          </p:nvGrpSpPr>
          <p:grpSpPr>
            <a:xfrm>
              <a:off x="205673" y="672706"/>
              <a:ext cx="8732655" cy="533638"/>
              <a:chOff x="205673" y="672706"/>
              <a:chExt cx="8732655" cy="533638"/>
            </a:xfrm>
          </p:grpSpPr>
          <p:sp>
            <p:nvSpPr>
              <p:cNvPr id="24" name="Rectangle 286">
                <a:extLst>
                  <a:ext uri="{FF2B5EF4-FFF2-40B4-BE49-F238E27FC236}">
                    <a16:creationId xmlns:a16="http://schemas.microsoft.com/office/drawing/2014/main" id="{DC62A897-C382-4556-B777-60E4AFE0637A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gray">
              <a:xfrm>
                <a:off x="205673" y="685359"/>
                <a:ext cx="8732655" cy="508331"/>
              </a:xfrm>
              <a:prstGeom prst="roundRect">
                <a:avLst>
                  <a:gd name="adj" fmla="val 0"/>
                </a:avLst>
              </a:prstGeom>
              <a:pattFill prst="ltDnDiag">
                <a:fgClr>
                  <a:srgbClr val="F9C61B">
                    <a:lumMod val="40000"/>
                    <a:lumOff val="60000"/>
                  </a:srgbClr>
                </a:fgClr>
                <a:bgClr>
                  <a:srgbClr val="FFFFFF"/>
                </a:bgClr>
              </a:patt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>
                <a:defPPr>
                  <a:defRPr lang="en-US"/>
                </a:defPPr>
                <a:lvl1pPr algn="ctr">
                  <a:defRPr sz="1100">
                    <a:latin typeface="+mn-lt"/>
                  </a:defRPr>
                </a:lvl1pPr>
                <a:lvl2pPr>
                  <a:defRPr>
                    <a:solidFill>
                      <a:schemeClr val="lt1"/>
                    </a:solidFill>
                    <a:latin typeface="+mn-lt"/>
                  </a:defRPr>
                </a:lvl2pPr>
                <a:lvl3pPr>
                  <a:defRPr>
                    <a:solidFill>
                      <a:schemeClr val="lt1"/>
                    </a:solidFill>
                    <a:latin typeface="+mn-lt"/>
                  </a:defRPr>
                </a:lvl3pPr>
                <a:lvl4pPr>
                  <a:defRPr>
                    <a:solidFill>
                      <a:schemeClr val="lt1"/>
                    </a:solidFill>
                    <a:latin typeface="+mn-lt"/>
                  </a:defRPr>
                </a:lvl4pPr>
                <a:lvl5pPr>
                  <a:defRPr>
                    <a:solidFill>
                      <a:schemeClr val="lt1"/>
                    </a:solidFill>
                    <a:latin typeface="+mn-lt"/>
                  </a:defRPr>
                </a:lvl5pPr>
                <a:lvl6pPr>
                  <a:defRPr>
                    <a:solidFill>
                      <a:schemeClr val="lt1"/>
                    </a:solidFill>
                    <a:latin typeface="+mn-lt"/>
                  </a:defRPr>
                </a:lvl6pPr>
                <a:lvl7pPr>
                  <a:defRPr>
                    <a:solidFill>
                      <a:schemeClr val="lt1"/>
                    </a:solidFill>
                    <a:latin typeface="+mn-lt"/>
                  </a:defRPr>
                </a:lvl7pPr>
                <a:lvl8pPr>
                  <a:defRPr>
                    <a:solidFill>
                      <a:schemeClr val="lt1"/>
                    </a:solidFill>
                    <a:latin typeface="+mn-lt"/>
                  </a:defRPr>
                </a:lvl8pPr>
                <a:lvl9pPr>
                  <a:defRPr>
                    <a:solidFill>
                      <a:schemeClr val="lt1"/>
                    </a:solidFill>
                    <a:latin typeface="+mn-lt"/>
                  </a:defRPr>
                </a:lvl9pPr>
              </a:lstStyle>
              <a:p>
                <a:pPr marL="456968" lvl="1" indent="0" defTabSz="913936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500" kern="0" dirty="0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25" name="Rectangle 350">
                <a:extLst>
                  <a:ext uri="{FF2B5EF4-FFF2-40B4-BE49-F238E27FC236}">
                    <a16:creationId xmlns:a16="http://schemas.microsoft.com/office/drawing/2014/main" id="{DCFA74D7-156F-4BD9-AEE1-301B06DAC2B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05673" y="1170344"/>
                <a:ext cx="8732655" cy="36000"/>
              </a:xfrm>
              <a:prstGeom prst="rect">
                <a:avLst/>
              </a:prstGeom>
              <a:solidFill>
                <a:srgbClr val="F9C61B">
                  <a:lumMod val="60000"/>
                  <a:lumOff val="4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algn="ctr" defTabSz="913936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500" kern="0" dirty="0">
                  <a:solidFill>
                    <a:srgbClr val="000000"/>
                  </a:solidFill>
                  <a:ea typeface="ＭＳ Ｐゴシック"/>
                  <a:cs typeface="+mn-cs"/>
                </a:endParaRPr>
              </a:p>
            </p:txBody>
          </p:sp>
          <p:sp>
            <p:nvSpPr>
              <p:cNvPr id="26" name="Rectangle 351">
                <a:extLst>
                  <a:ext uri="{FF2B5EF4-FFF2-40B4-BE49-F238E27FC236}">
                    <a16:creationId xmlns:a16="http://schemas.microsoft.com/office/drawing/2014/main" id="{5432FA52-C54D-4441-8485-CC66FC60026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05673" y="672706"/>
                <a:ext cx="8732655" cy="36000"/>
              </a:xfrm>
              <a:prstGeom prst="rect">
                <a:avLst/>
              </a:prstGeom>
              <a:solidFill>
                <a:srgbClr val="F9C61B">
                  <a:lumMod val="60000"/>
                  <a:lumOff val="4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algn="ctr" defTabSz="913936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500" kern="0" dirty="0">
                  <a:solidFill>
                    <a:srgbClr val="000000"/>
                  </a:solidFill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16" name="Group 352">
              <a:extLst>
                <a:ext uri="{FF2B5EF4-FFF2-40B4-BE49-F238E27FC236}">
                  <a16:creationId xmlns:a16="http://schemas.microsoft.com/office/drawing/2014/main" id="{5AE5A490-3B9A-412B-BDAB-BE912A63142E}"/>
                </a:ext>
              </a:extLst>
            </p:cNvPr>
            <p:cNvGrpSpPr/>
            <p:nvPr/>
          </p:nvGrpSpPr>
          <p:grpSpPr>
            <a:xfrm flipH="1" flipV="1">
              <a:off x="8989025" y="675399"/>
              <a:ext cx="76254" cy="534614"/>
              <a:chOff x="1033462" y="562212"/>
              <a:chExt cx="59532" cy="485051"/>
            </a:xfrm>
          </p:grpSpPr>
          <p:cxnSp>
            <p:nvCxnSpPr>
              <p:cNvPr id="22" name="Straight Connector 353">
                <a:extLst>
                  <a:ext uri="{FF2B5EF4-FFF2-40B4-BE49-F238E27FC236}">
                    <a16:creationId xmlns:a16="http://schemas.microsoft.com/office/drawing/2014/main" id="{17B78902-FCF8-40D0-91F5-F7056959B5C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92994" y="562212"/>
                <a:ext cx="0" cy="485051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354">
                <a:extLst>
                  <a:ext uri="{FF2B5EF4-FFF2-40B4-BE49-F238E27FC236}">
                    <a16:creationId xmlns:a16="http://schemas.microsoft.com/office/drawing/2014/main" id="{5A1AFF79-10FE-40B7-8055-61B2635E37F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33462" y="654149"/>
                <a:ext cx="0" cy="301177"/>
              </a:xfrm>
              <a:prstGeom prst="line">
                <a:avLst/>
              </a:prstGeom>
              <a:ln w="19050">
                <a:solidFill>
                  <a:srgbClr val="0070C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352">
              <a:extLst>
                <a:ext uri="{FF2B5EF4-FFF2-40B4-BE49-F238E27FC236}">
                  <a16:creationId xmlns:a16="http://schemas.microsoft.com/office/drawing/2014/main" id="{AC82012F-5DE4-4369-B7C2-05C3978017E2}"/>
                </a:ext>
              </a:extLst>
            </p:cNvPr>
            <p:cNvGrpSpPr/>
            <p:nvPr/>
          </p:nvGrpSpPr>
          <p:grpSpPr>
            <a:xfrm flipV="1">
              <a:off x="78722" y="675399"/>
              <a:ext cx="76254" cy="534614"/>
              <a:chOff x="1033462" y="562212"/>
              <a:chExt cx="59532" cy="485051"/>
            </a:xfrm>
          </p:grpSpPr>
          <p:cxnSp>
            <p:nvCxnSpPr>
              <p:cNvPr id="19" name="Straight Connector 353">
                <a:extLst>
                  <a:ext uri="{FF2B5EF4-FFF2-40B4-BE49-F238E27FC236}">
                    <a16:creationId xmlns:a16="http://schemas.microsoft.com/office/drawing/2014/main" id="{440A748B-7F21-4E67-AD31-9C6D82ACB6A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92994" y="562212"/>
                <a:ext cx="0" cy="485051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354">
                <a:extLst>
                  <a:ext uri="{FF2B5EF4-FFF2-40B4-BE49-F238E27FC236}">
                    <a16:creationId xmlns:a16="http://schemas.microsoft.com/office/drawing/2014/main" id="{E54AE161-9CC0-40F9-83F9-5BB55FEC9AE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33462" y="654149"/>
                <a:ext cx="0" cy="301177"/>
              </a:xfrm>
              <a:prstGeom prst="line">
                <a:avLst/>
              </a:prstGeom>
              <a:ln w="19050">
                <a:solidFill>
                  <a:srgbClr val="0070C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" name="TextBox 3"/>
          <p:cNvSpPr txBox="1"/>
          <p:nvPr/>
        </p:nvSpPr>
        <p:spPr>
          <a:xfrm>
            <a:off x="621994" y="829476"/>
            <a:ext cx="7900012" cy="646282"/>
          </a:xfrm>
          <a:prstGeom prst="rect">
            <a:avLst/>
          </a:prstGeom>
          <a:noFill/>
        </p:spPr>
        <p:txBody>
          <a:bodyPr wrap="square" lIns="91394" tIns="45696" rIns="91394" bIns="45696" rtlCol="0">
            <a:spAutoFit/>
          </a:bodyPr>
          <a:lstStyle/>
          <a:p>
            <a:pPr algn="ctr"/>
            <a:r>
              <a:rPr lang="kk-KZ" sz="2400" b="1" dirty="0" smtClean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2019-2021 жылдары </a:t>
            </a:r>
            <a:r>
              <a:rPr lang="kk-KZ" sz="3600" b="1" dirty="0" smtClean="0">
                <a:solidFill>
                  <a:srgbClr val="00B050"/>
                </a:solidFill>
                <a:cs typeface="Tahoma" panose="020B0604030504040204" pitchFamily="34" charset="0"/>
              </a:rPr>
              <a:t>206 </a:t>
            </a:r>
            <a:r>
              <a:rPr lang="ru-RU" sz="2800" b="1" dirty="0">
                <a:solidFill>
                  <a:srgbClr val="00B050"/>
                </a:solidFill>
                <a:cs typeface="Tahoma" panose="020B0604030504040204" pitchFamily="34" charset="0"/>
              </a:rPr>
              <a:t>млрд. </a:t>
            </a:r>
            <a:r>
              <a:rPr lang="kk-KZ" sz="2800" b="1" dirty="0" smtClean="0">
                <a:solidFill>
                  <a:srgbClr val="00B050"/>
                </a:solidFill>
                <a:cs typeface="Tahoma" panose="020B0604030504040204" pitchFamily="34" charset="0"/>
              </a:rPr>
              <a:t>теңге </a:t>
            </a:r>
            <a:r>
              <a:rPr lang="kk-KZ" sz="2800" b="1" dirty="0" smtClean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бөлінді</a:t>
            </a:r>
            <a:endParaRPr lang="kk-KZ" sz="2800" b="1" dirty="0">
              <a:solidFill>
                <a:srgbClr val="00B050"/>
              </a:solidFill>
              <a:cs typeface="Tahoma" panose="020B0604030504040204" pitchFamily="34" charset="0"/>
            </a:endParaRPr>
          </a:p>
        </p:txBody>
      </p:sp>
      <p:sp>
        <p:nvSpPr>
          <p:cNvPr id="17" name="Прямоугольник 27"/>
          <p:cNvSpPr>
            <a:spLocks noChangeArrowheads="1"/>
          </p:cNvSpPr>
          <p:nvPr/>
        </p:nvSpPr>
        <p:spPr bwMode="auto">
          <a:xfrm>
            <a:off x="390696" y="4058176"/>
            <a:ext cx="8753303" cy="846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392" tIns="45696" rIns="91392" bIns="45696" anchor="b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algn="ctr" eaLnBrk="1" fontAlgn="ctr" hangingPunct="1"/>
            <a:r>
              <a:rPr lang="ru-RU" altLang="en-US" sz="1800" b="1" dirty="0" smtClean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Даму </a:t>
            </a:r>
            <a:r>
              <a:rPr lang="ru-RU" altLang="en-US" sz="1800" b="1" dirty="0" err="1" smtClean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әлеуеті жоғары </a:t>
            </a:r>
            <a:r>
              <a:rPr lang="ru-RU" altLang="en-US" sz="3200" b="1" dirty="0" smtClean="0">
                <a:solidFill>
                  <a:srgbClr val="00B050"/>
                </a:solidFill>
                <a:cs typeface="Tahoma" panose="020B0604030504040204" pitchFamily="34" charset="0"/>
              </a:rPr>
              <a:t>3,5 </a:t>
            </a:r>
            <a:r>
              <a:rPr lang="ru-RU" altLang="en-US" sz="3200" b="1" dirty="0">
                <a:solidFill>
                  <a:srgbClr val="00B050"/>
                </a:solidFill>
                <a:cs typeface="Tahoma" panose="020B0604030504040204" pitchFamily="34" charset="0"/>
              </a:rPr>
              <a:t>тыс. </a:t>
            </a:r>
            <a:r>
              <a:rPr lang="ru-RU" altLang="en-US" sz="3200" b="1" dirty="0" err="1" smtClean="0">
                <a:solidFill>
                  <a:srgbClr val="00B050"/>
                </a:solidFill>
                <a:cs typeface="Tahoma" panose="020B0604030504040204" pitchFamily="34" charset="0"/>
              </a:rPr>
              <a:t>ауыл</a:t>
            </a:r>
            <a:r>
              <a:rPr lang="ru-RU" altLang="en-US" sz="3200" b="1" dirty="0" smtClean="0">
                <a:solidFill>
                  <a:srgbClr val="00B050"/>
                </a:solidFill>
                <a:cs typeface="Tahoma" panose="020B0604030504040204" pitchFamily="34" charset="0"/>
              </a:rPr>
              <a:t> </a:t>
            </a:r>
            <a:r>
              <a:rPr lang="ru-RU" altLang="en-US" sz="1800" b="1" dirty="0" err="1" smtClean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қамтылатын болады</a:t>
            </a:r>
            <a:r>
              <a:rPr lang="ru-RU" altLang="en-US" sz="1800" b="1" dirty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/>
            </a:r>
            <a:br>
              <a:rPr lang="ru-RU" altLang="en-US" sz="1800" b="1" dirty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</a:br>
            <a:r>
              <a:rPr lang="ru-RU" altLang="en-US" b="1" i="1" dirty="0" smtClean="0">
                <a:cs typeface="Tahoma" panose="020B0604030504040204" pitchFamily="34" charset="0"/>
              </a:rPr>
              <a:t>(</a:t>
            </a:r>
            <a:r>
              <a:rPr lang="ru-RU" altLang="en-US" b="1" i="1" dirty="0" err="1" smtClean="0">
                <a:cs typeface="Tahoma" panose="020B0604030504040204" pitchFamily="34" charset="0"/>
              </a:rPr>
              <a:t>ауыл</a:t>
            </a:r>
            <a:r>
              <a:rPr lang="ru-RU" altLang="en-US" b="1" i="1" dirty="0" smtClean="0">
                <a:cs typeface="Tahoma" panose="020B0604030504040204" pitchFamily="34" charset="0"/>
              </a:rPr>
              <a:t> </a:t>
            </a:r>
            <a:r>
              <a:rPr lang="ru-RU" altLang="en-US" b="1" i="1" dirty="0" err="1" smtClean="0">
                <a:cs typeface="Tahoma" panose="020B0604030504040204" pitchFamily="34" charset="0"/>
              </a:rPr>
              <a:t>халқының </a:t>
            </a:r>
            <a:r>
              <a:rPr lang="ru-RU" altLang="en-US" b="1" i="1" dirty="0" smtClean="0">
                <a:solidFill>
                  <a:srgbClr val="00B050"/>
                </a:solidFill>
                <a:cs typeface="Tahoma" panose="020B0604030504040204" pitchFamily="34" charset="0"/>
              </a:rPr>
              <a:t>90%</a:t>
            </a:r>
            <a:r>
              <a:rPr lang="ru-RU" altLang="en-US" b="1" i="1" dirty="0">
                <a:solidFill>
                  <a:srgbClr val="0070C0"/>
                </a:solidFill>
                <a:cs typeface="Tahoma" panose="020B0604030504040204" pitchFamily="34" charset="0"/>
              </a:rPr>
              <a:t> </a:t>
            </a:r>
            <a:r>
              <a:rPr lang="ru-RU" altLang="en-US" b="1" i="1" dirty="0" err="1" smtClean="0">
                <a:cs typeface="Tahoma" panose="020B0604030504040204" pitchFamily="34" charset="0"/>
              </a:rPr>
              <a:t>астам</a:t>
            </a:r>
            <a:r>
              <a:rPr lang="ru-RU" altLang="en-US" b="1" i="1" dirty="0" smtClean="0">
                <a:cs typeface="Tahoma" panose="020B0604030504040204" pitchFamily="34" charset="0"/>
              </a:rPr>
              <a:t>)</a:t>
            </a:r>
            <a:endParaRPr lang="ru-RU" altLang="en-US" b="1" i="1" dirty="0">
              <a:cs typeface="Tahoma" panose="020B0604030504040204" pitchFamily="34" charset="0"/>
            </a:endParaRPr>
          </a:p>
          <a:p>
            <a:pPr algn="ctr" eaLnBrk="1" fontAlgn="ctr" hangingPunct="1"/>
            <a:endParaRPr lang="ru-RU" altLang="en-US" sz="100" b="1" i="1" dirty="0">
              <a:solidFill>
                <a:srgbClr val="0070C0"/>
              </a:solidFill>
              <a:cs typeface="Arial" panose="020B0604020202020204" pitchFamily="34" charset="0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1157997" y="2677346"/>
            <a:ext cx="757581" cy="762598"/>
            <a:chOff x="1078448" y="1560409"/>
            <a:chExt cx="916673" cy="922744"/>
          </a:xfrm>
        </p:grpSpPr>
        <p:sp>
          <p:nvSpPr>
            <p:cNvPr id="30" name="Oval 118">
              <a:extLst>
                <a:ext uri="{FF2B5EF4-FFF2-40B4-BE49-F238E27FC236}">
                  <a16:creationId xmlns:a16="http://schemas.microsoft.com/office/drawing/2014/main" id="{D4D8EE0C-0223-4425-89BE-206C1B9797DE}"/>
                </a:ext>
              </a:extLst>
            </p:cNvPr>
            <p:cNvSpPr/>
            <p:nvPr/>
          </p:nvSpPr>
          <p:spPr>
            <a:xfrm>
              <a:off x="1078448" y="1560409"/>
              <a:ext cx="916673" cy="922744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F8C51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>
                <a:buClr>
                  <a:srgbClr val="FFFFFF"/>
                </a:buClr>
                <a:defRPr/>
              </a:pPr>
              <a:endParaRPr lang="ru-RU" sz="1000" dirty="0" err="1">
                <a:solidFill>
                  <a:srgbClr val="FFFFFF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6" name="Rectangle 5"/>
            <p:cNvSpPr/>
            <p:nvPr/>
          </p:nvSpPr>
          <p:spPr>
            <a:xfrm>
              <a:off x="1101408" y="1790948"/>
              <a:ext cx="844129" cy="44689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kk-KZ" sz="1800" b="1" dirty="0">
                  <a:ea typeface="Tahoma" panose="020B0604030504040204" pitchFamily="34" charset="0"/>
                  <a:cs typeface="Arial" panose="020B0604020202020204" pitchFamily="34" charset="0"/>
                </a:rPr>
                <a:t>2022</a:t>
              </a:r>
              <a:endParaRPr lang="en-US" sz="1800" dirty="0"/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3254969" y="2677346"/>
            <a:ext cx="757581" cy="762598"/>
            <a:chOff x="3175421" y="1560409"/>
            <a:chExt cx="916673" cy="922744"/>
          </a:xfrm>
        </p:grpSpPr>
        <p:sp>
          <p:nvSpPr>
            <p:cNvPr id="31" name="Oval 118">
              <a:extLst>
                <a:ext uri="{FF2B5EF4-FFF2-40B4-BE49-F238E27FC236}">
                  <a16:creationId xmlns:a16="http://schemas.microsoft.com/office/drawing/2014/main" id="{D4D8EE0C-0223-4425-89BE-206C1B9797DE}"/>
                </a:ext>
              </a:extLst>
            </p:cNvPr>
            <p:cNvSpPr/>
            <p:nvPr/>
          </p:nvSpPr>
          <p:spPr>
            <a:xfrm>
              <a:off x="3175421" y="1560409"/>
              <a:ext cx="916673" cy="922744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F8C51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>
                <a:buClr>
                  <a:srgbClr val="FFFFFF"/>
                </a:buClr>
                <a:defRPr/>
              </a:pPr>
              <a:endParaRPr lang="ru-RU" sz="1000" dirty="0" err="1">
                <a:solidFill>
                  <a:srgbClr val="FFFFFF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35" name="Rectangle 34"/>
            <p:cNvSpPr/>
            <p:nvPr/>
          </p:nvSpPr>
          <p:spPr>
            <a:xfrm>
              <a:off x="3198381" y="1790947"/>
              <a:ext cx="844129" cy="44689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kk-KZ" sz="1800" b="1" dirty="0">
                  <a:ea typeface="Tahoma" panose="020B0604030504040204" pitchFamily="34" charset="0"/>
                  <a:cs typeface="Arial" panose="020B0604020202020204" pitchFamily="34" charset="0"/>
                </a:rPr>
                <a:t>2023</a:t>
              </a:r>
              <a:endParaRPr lang="en-US" sz="1800" dirty="0"/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5351942" y="2677346"/>
            <a:ext cx="757581" cy="762598"/>
            <a:chOff x="5272394" y="1560409"/>
            <a:chExt cx="916673" cy="922744"/>
          </a:xfrm>
        </p:grpSpPr>
        <p:sp>
          <p:nvSpPr>
            <p:cNvPr id="32" name="Oval 118">
              <a:extLst>
                <a:ext uri="{FF2B5EF4-FFF2-40B4-BE49-F238E27FC236}">
                  <a16:creationId xmlns:a16="http://schemas.microsoft.com/office/drawing/2014/main" id="{D4D8EE0C-0223-4425-89BE-206C1B9797DE}"/>
                </a:ext>
              </a:extLst>
            </p:cNvPr>
            <p:cNvSpPr/>
            <p:nvPr/>
          </p:nvSpPr>
          <p:spPr>
            <a:xfrm>
              <a:off x="5272394" y="1560409"/>
              <a:ext cx="916673" cy="922744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F8C51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>
                <a:buClr>
                  <a:srgbClr val="FFFFFF"/>
                </a:buClr>
                <a:defRPr/>
              </a:pPr>
              <a:endParaRPr lang="ru-RU" sz="1000" dirty="0" err="1">
                <a:solidFill>
                  <a:srgbClr val="FFFFFF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5295354" y="1790946"/>
              <a:ext cx="844129" cy="44689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kk-KZ" sz="1800" b="1" dirty="0">
                  <a:ea typeface="Tahoma" panose="020B0604030504040204" pitchFamily="34" charset="0"/>
                  <a:cs typeface="Arial" panose="020B0604020202020204" pitchFamily="34" charset="0"/>
                </a:rPr>
                <a:t>2024</a:t>
              </a:r>
              <a:endParaRPr lang="en-US" sz="1800" dirty="0"/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7448914" y="2677346"/>
            <a:ext cx="757581" cy="762598"/>
            <a:chOff x="7369367" y="1560409"/>
            <a:chExt cx="916673" cy="922744"/>
          </a:xfrm>
        </p:grpSpPr>
        <p:sp>
          <p:nvSpPr>
            <p:cNvPr id="33" name="Oval 118">
              <a:extLst>
                <a:ext uri="{FF2B5EF4-FFF2-40B4-BE49-F238E27FC236}">
                  <a16:creationId xmlns:a16="http://schemas.microsoft.com/office/drawing/2014/main" id="{D4D8EE0C-0223-4425-89BE-206C1B9797DE}"/>
                </a:ext>
              </a:extLst>
            </p:cNvPr>
            <p:cNvSpPr/>
            <p:nvPr/>
          </p:nvSpPr>
          <p:spPr>
            <a:xfrm>
              <a:off x="7369367" y="1560409"/>
              <a:ext cx="916673" cy="922744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F8C51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>
                <a:buClr>
                  <a:srgbClr val="FFFFFF"/>
                </a:buClr>
                <a:defRPr/>
              </a:pPr>
              <a:endParaRPr lang="ru-RU" sz="1000" dirty="0" err="1">
                <a:solidFill>
                  <a:srgbClr val="FFFFFF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37" name="Rectangle 36"/>
            <p:cNvSpPr/>
            <p:nvPr/>
          </p:nvSpPr>
          <p:spPr>
            <a:xfrm>
              <a:off x="7392327" y="1790946"/>
              <a:ext cx="844129" cy="44689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kk-KZ" sz="1800" b="1" dirty="0">
                  <a:ea typeface="Tahoma" panose="020B0604030504040204" pitchFamily="34" charset="0"/>
                  <a:cs typeface="Arial" panose="020B0604020202020204" pitchFamily="34" charset="0"/>
                </a:rPr>
                <a:t>2025</a:t>
              </a:r>
              <a:endParaRPr lang="en-US" sz="1800" dirty="0"/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2426654" y="2739875"/>
            <a:ext cx="317247" cy="637540"/>
            <a:chOff x="2525677" y="2483153"/>
            <a:chExt cx="317247" cy="637540"/>
          </a:xfrm>
        </p:grpSpPr>
        <p:sp>
          <p:nvSpPr>
            <p:cNvPr id="7" name="Rectangle 6"/>
            <p:cNvSpPr/>
            <p:nvPr/>
          </p:nvSpPr>
          <p:spPr>
            <a:xfrm>
              <a:off x="2662584" y="2705100"/>
              <a:ext cx="180340" cy="18288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0" name="object 26"/>
            <p:cNvGrpSpPr/>
            <p:nvPr/>
          </p:nvGrpSpPr>
          <p:grpSpPr>
            <a:xfrm>
              <a:off x="2525677" y="2483153"/>
              <a:ext cx="289560" cy="637540"/>
              <a:chOff x="2493264" y="2305811"/>
              <a:chExt cx="289560" cy="637540"/>
            </a:xfrm>
          </p:grpSpPr>
          <p:sp>
            <p:nvSpPr>
              <p:cNvPr id="41" name="object 27"/>
              <p:cNvSpPr/>
              <p:nvPr/>
            </p:nvSpPr>
            <p:spPr>
              <a:xfrm>
                <a:off x="2497836" y="2310383"/>
                <a:ext cx="181610" cy="628015"/>
              </a:xfrm>
              <a:custGeom>
                <a:avLst/>
                <a:gdLst/>
                <a:ahLst/>
                <a:cxnLst/>
                <a:rect l="l" t="t" r="r" b="b"/>
                <a:pathLst>
                  <a:path w="181610" h="628014">
                    <a:moveTo>
                      <a:pt x="0" y="0"/>
                    </a:moveTo>
                    <a:lnTo>
                      <a:pt x="181356" y="313944"/>
                    </a:lnTo>
                    <a:lnTo>
                      <a:pt x="0" y="627888"/>
                    </a:lnTo>
                  </a:path>
                </a:pathLst>
              </a:custGeom>
              <a:ln w="9144">
                <a:solidFill>
                  <a:srgbClr val="85C7FF"/>
                </a:solidFill>
              </a:ln>
            </p:spPr>
            <p:txBody>
              <a:bodyPr wrap="square" lIns="0" tIns="0" rIns="0" bIns="0" rtlCol="0"/>
              <a:lstStyle/>
              <a:p>
                <a:pPr defTabSz="913936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sz="18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object 28"/>
              <p:cNvSpPr/>
              <p:nvPr/>
            </p:nvSpPr>
            <p:spPr>
              <a:xfrm>
                <a:off x="2598420" y="2310383"/>
                <a:ext cx="180340" cy="628015"/>
              </a:xfrm>
              <a:custGeom>
                <a:avLst/>
                <a:gdLst/>
                <a:ahLst/>
                <a:cxnLst/>
                <a:rect l="l" t="t" r="r" b="b"/>
                <a:pathLst>
                  <a:path w="180339" h="628014">
                    <a:moveTo>
                      <a:pt x="0" y="0"/>
                    </a:moveTo>
                    <a:lnTo>
                      <a:pt x="179831" y="313944"/>
                    </a:lnTo>
                    <a:lnTo>
                      <a:pt x="0" y="627888"/>
                    </a:lnTo>
                  </a:path>
                </a:pathLst>
              </a:custGeom>
              <a:ln w="9144">
                <a:solidFill>
                  <a:srgbClr val="006FCE"/>
                </a:solidFill>
              </a:ln>
            </p:spPr>
            <p:txBody>
              <a:bodyPr wrap="square" lIns="0" tIns="0" rIns="0" bIns="0" rtlCol="0"/>
              <a:lstStyle/>
              <a:p>
                <a:pPr defTabSz="913936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sz="1800" kern="0">
                  <a:solidFill>
                    <a:sysClr val="windowText" lastClr="000000"/>
                  </a:solidFill>
                </a:endParaRPr>
              </a:p>
            </p:txBody>
          </p:sp>
        </p:grpSp>
      </p:grpSp>
      <p:grpSp>
        <p:nvGrpSpPr>
          <p:cNvPr id="43" name="Group 42"/>
          <p:cNvGrpSpPr/>
          <p:nvPr/>
        </p:nvGrpSpPr>
        <p:grpSpPr>
          <a:xfrm>
            <a:off x="4523628" y="2739875"/>
            <a:ext cx="317247" cy="637540"/>
            <a:chOff x="2525677" y="2483153"/>
            <a:chExt cx="317247" cy="637540"/>
          </a:xfrm>
        </p:grpSpPr>
        <p:sp>
          <p:nvSpPr>
            <p:cNvPr id="44" name="Rectangle 43"/>
            <p:cNvSpPr/>
            <p:nvPr/>
          </p:nvSpPr>
          <p:spPr>
            <a:xfrm>
              <a:off x="2662584" y="2705100"/>
              <a:ext cx="180340" cy="18288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5" name="object 26"/>
            <p:cNvGrpSpPr/>
            <p:nvPr/>
          </p:nvGrpSpPr>
          <p:grpSpPr>
            <a:xfrm>
              <a:off x="2525677" y="2483153"/>
              <a:ext cx="289560" cy="637540"/>
              <a:chOff x="2493264" y="2305811"/>
              <a:chExt cx="289560" cy="637540"/>
            </a:xfrm>
          </p:grpSpPr>
          <p:sp>
            <p:nvSpPr>
              <p:cNvPr id="46" name="object 27"/>
              <p:cNvSpPr/>
              <p:nvPr/>
            </p:nvSpPr>
            <p:spPr>
              <a:xfrm>
                <a:off x="2497836" y="2310383"/>
                <a:ext cx="181610" cy="628015"/>
              </a:xfrm>
              <a:custGeom>
                <a:avLst/>
                <a:gdLst/>
                <a:ahLst/>
                <a:cxnLst/>
                <a:rect l="l" t="t" r="r" b="b"/>
                <a:pathLst>
                  <a:path w="181610" h="628014">
                    <a:moveTo>
                      <a:pt x="0" y="0"/>
                    </a:moveTo>
                    <a:lnTo>
                      <a:pt x="181356" y="313944"/>
                    </a:lnTo>
                    <a:lnTo>
                      <a:pt x="0" y="627888"/>
                    </a:lnTo>
                  </a:path>
                </a:pathLst>
              </a:custGeom>
              <a:ln w="9144">
                <a:solidFill>
                  <a:srgbClr val="85C7FF"/>
                </a:solidFill>
              </a:ln>
            </p:spPr>
            <p:txBody>
              <a:bodyPr wrap="square" lIns="0" tIns="0" rIns="0" bIns="0" rtlCol="0"/>
              <a:lstStyle/>
              <a:p>
                <a:pPr defTabSz="913936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sz="18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7" name="object 28"/>
              <p:cNvSpPr/>
              <p:nvPr/>
            </p:nvSpPr>
            <p:spPr>
              <a:xfrm>
                <a:off x="2598420" y="2310383"/>
                <a:ext cx="180340" cy="628015"/>
              </a:xfrm>
              <a:custGeom>
                <a:avLst/>
                <a:gdLst/>
                <a:ahLst/>
                <a:cxnLst/>
                <a:rect l="l" t="t" r="r" b="b"/>
                <a:pathLst>
                  <a:path w="180339" h="628014">
                    <a:moveTo>
                      <a:pt x="0" y="0"/>
                    </a:moveTo>
                    <a:lnTo>
                      <a:pt x="179831" y="313944"/>
                    </a:lnTo>
                    <a:lnTo>
                      <a:pt x="0" y="627888"/>
                    </a:lnTo>
                  </a:path>
                </a:pathLst>
              </a:custGeom>
              <a:ln w="9144">
                <a:solidFill>
                  <a:srgbClr val="006FCE"/>
                </a:solidFill>
              </a:ln>
            </p:spPr>
            <p:txBody>
              <a:bodyPr wrap="square" lIns="0" tIns="0" rIns="0" bIns="0" rtlCol="0"/>
              <a:lstStyle/>
              <a:p>
                <a:pPr defTabSz="913936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sz="1800" kern="0">
                  <a:solidFill>
                    <a:sysClr val="windowText" lastClr="000000"/>
                  </a:solidFill>
                </a:endParaRPr>
              </a:p>
            </p:txBody>
          </p:sp>
        </p:grpSp>
      </p:grpSp>
      <p:grpSp>
        <p:nvGrpSpPr>
          <p:cNvPr id="48" name="Group 47"/>
          <p:cNvGrpSpPr/>
          <p:nvPr/>
        </p:nvGrpSpPr>
        <p:grpSpPr>
          <a:xfrm>
            <a:off x="6620601" y="2739875"/>
            <a:ext cx="317247" cy="637540"/>
            <a:chOff x="2525677" y="2483153"/>
            <a:chExt cx="317247" cy="637540"/>
          </a:xfrm>
        </p:grpSpPr>
        <p:sp>
          <p:nvSpPr>
            <p:cNvPr id="49" name="Rectangle 48"/>
            <p:cNvSpPr/>
            <p:nvPr/>
          </p:nvSpPr>
          <p:spPr>
            <a:xfrm>
              <a:off x="2662584" y="2705100"/>
              <a:ext cx="180340" cy="18288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50" name="object 26"/>
            <p:cNvGrpSpPr/>
            <p:nvPr/>
          </p:nvGrpSpPr>
          <p:grpSpPr>
            <a:xfrm>
              <a:off x="2525677" y="2483153"/>
              <a:ext cx="289560" cy="637540"/>
              <a:chOff x="2493264" y="2305811"/>
              <a:chExt cx="289560" cy="637540"/>
            </a:xfrm>
          </p:grpSpPr>
          <p:sp>
            <p:nvSpPr>
              <p:cNvPr id="51" name="object 27"/>
              <p:cNvSpPr/>
              <p:nvPr/>
            </p:nvSpPr>
            <p:spPr>
              <a:xfrm>
                <a:off x="2497836" y="2310383"/>
                <a:ext cx="181610" cy="628015"/>
              </a:xfrm>
              <a:custGeom>
                <a:avLst/>
                <a:gdLst/>
                <a:ahLst/>
                <a:cxnLst/>
                <a:rect l="l" t="t" r="r" b="b"/>
                <a:pathLst>
                  <a:path w="181610" h="628014">
                    <a:moveTo>
                      <a:pt x="0" y="0"/>
                    </a:moveTo>
                    <a:lnTo>
                      <a:pt x="181356" y="313944"/>
                    </a:lnTo>
                    <a:lnTo>
                      <a:pt x="0" y="627888"/>
                    </a:lnTo>
                  </a:path>
                </a:pathLst>
              </a:custGeom>
              <a:ln w="9144">
                <a:solidFill>
                  <a:srgbClr val="85C7FF"/>
                </a:solidFill>
              </a:ln>
            </p:spPr>
            <p:txBody>
              <a:bodyPr wrap="square" lIns="0" tIns="0" rIns="0" bIns="0" rtlCol="0"/>
              <a:lstStyle/>
              <a:p>
                <a:pPr defTabSz="913936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sz="18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52" name="object 28"/>
              <p:cNvSpPr/>
              <p:nvPr/>
            </p:nvSpPr>
            <p:spPr>
              <a:xfrm>
                <a:off x="2598420" y="2310383"/>
                <a:ext cx="180340" cy="628015"/>
              </a:xfrm>
              <a:custGeom>
                <a:avLst/>
                <a:gdLst/>
                <a:ahLst/>
                <a:cxnLst/>
                <a:rect l="l" t="t" r="r" b="b"/>
                <a:pathLst>
                  <a:path w="180339" h="628014">
                    <a:moveTo>
                      <a:pt x="0" y="0"/>
                    </a:moveTo>
                    <a:lnTo>
                      <a:pt x="179831" y="313944"/>
                    </a:lnTo>
                    <a:lnTo>
                      <a:pt x="0" y="627888"/>
                    </a:lnTo>
                  </a:path>
                </a:pathLst>
              </a:custGeom>
              <a:ln w="9144">
                <a:solidFill>
                  <a:srgbClr val="006FCE"/>
                </a:solidFill>
              </a:ln>
            </p:spPr>
            <p:txBody>
              <a:bodyPr wrap="square" lIns="0" tIns="0" rIns="0" bIns="0" rtlCol="0"/>
              <a:lstStyle/>
              <a:p>
                <a:pPr defTabSz="913936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sz="1800" kern="0">
                  <a:solidFill>
                    <a:sysClr val="windowText" lastClr="000000"/>
                  </a:solidFill>
                </a:endParaRPr>
              </a:p>
            </p:txBody>
          </p:sp>
        </p:grpSp>
      </p:grpSp>
      <p:sp>
        <p:nvSpPr>
          <p:cNvPr id="53" name="Oval 52"/>
          <p:cNvSpPr/>
          <p:nvPr/>
        </p:nvSpPr>
        <p:spPr>
          <a:xfrm>
            <a:off x="171383" y="3024355"/>
            <a:ext cx="68580" cy="68580"/>
          </a:xfrm>
          <a:prstGeom prst="ellipse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4" tIns="45696" rIns="91394" bIns="45696" rtlCol="0" anchor="ctr"/>
          <a:lstStyle/>
          <a:p>
            <a:pPr algn="ctr"/>
            <a:endParaRPr lang="en-US"/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F3FD75E8-4121-4757-97AB-E39592337217}"/>
              </a:ext>
            </a:extLst>
          </p:cNvPr>
          <p:cNvCxnSpPr>
            <a:cxnSpLocks/>
          </p:cNvCxnSpPr>
          <p:nvPr/>
        </p:nvCxnSpPr>
        <p:spPr>
          <a:xfrm>
            <a:off x="2831" y="1687538"/>
            <a:ext cx="9141169" cy="0"/>
          </a:xfrm>
          <a:prstGeom prst="line">
            <a:avLst/>
          </a:prstGeom>
          <a:ln w="6350">
            <a:solidFill>
              <a:srgbClr val="7F7F7F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53"/>
          <p:cNvSpPr/>
          <p:nvPr/>
        </p:nvSpPr>
        <p:spPr>
          <a:xfrm>
            <a:off x="904871" y="1712344"/>
            <a:ext cx="8152388" cy="646282"/>
          </a:xfrm>
          <a:prstGeom prst="rect">
            <a:avLst/>
          </a:prstGeom>
        </p:spPr>
        <p:txBody>
          <a:bodyPr wrap="square" lIns="91394" tIns="45696" rIns="91394" bIns="45696">
            <a:spAutoFit/>
          </a:bodyPr>
          <a:lstStyle/>
          <a:p>
            <a:pPr algn="ctr" eaLnBrk="1" fontAlgn="ctr" hangingPunct="1"/>
            <a:r>
              <a:rPr lang="ru-RU" altLang="en-US" sz="1800" b="1" dirty="0" err="1" smtClean="0">
                <a:ea typeface="Tahoma" panose="020B0604030504040204" pitchFamily="34" charset="0"/>
                <a:cs typeface="Arial" panose="020B0604020202020204" pitchFamily="34" charset="0"/>
              </a:rPr>
              <a:t>Келесі</a:t>
            </a:r>
            <a:r>
              <a:rPr lang="ru-RU" altLang="en-US" sz="1800" b="1" dirty="0" smtClean="0">
                <a:ea typeface="Tahoma" panose="020B0604030504040204" pitchFamily="34" charset="0"/>
                <a:cs typeface="Arial" panose="020B0604020202020204" pitchFamily="34" charset="0"/>
              </a:rPr>
              <a:t> 4 </a:t>
            </a:r>
            <a:r>
              <a:rPr lang="ru-RU" altLang="en-US" sz="1800" b="1" dirty="0" err="1" smtClean="0">
                <a:ea typeface="Tahoma" panose="020B0604030504040204" pitchFamily="34" charset="0"/>
                <a:cs typeface="Arial" panose="020B0604020202020204" pitchFamily="34" charset="0"/>
              </a:rPr>
              <a:t>жыл</a:t>
            </a:r>
            <a:r>
              <a:rPr lang="ru-RU" altLang="en-US" sz="1800" b="1" dirty="0" smtClean="0"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altLang="en-US" sz="1800" b="1" dirty="0" err="1" smtClean="0">
                <a:ea typeface="Tahoma" panose="020B0604030504040204" pitchFamily="34" charset="0"/>
                <a:cs typeface="Arial" panose="020B0604020202020204" pitchFamily="34" charset="0"/>
              </a:rPr>
              <a:t>бойы</a:t>
            </a:r>
            <a:r>
              <a:rPr lang="ru-RU" altLang="en-US" sz="1800" b="1" dirty="0" smtClean="0"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altLang="en-US" sz="3600" b="1" dirty="0" smtClean="0">
                <a:solidFill>
                  <a:srgbClr val="00B050"/>
                </a:solidFill>
                <a:ea typeface="Tahoma" panose="020B0604030504040204" pitchFamily="34" charset="0"/>
                <a:cs typeface="Arial" panose="020B0604020202020204" pitchFamily="34" charset="0"/>
              </a:rPr>
              <a:t>670</a:t>
            </a:r>
            <a:r>
              <a:rPr lang="ru-RU" altLang="en-US" sz="2800" b="1" dirty="0" smtClean="0">
                <a:solidFill>
                  <a:srgbClr val="00B050"/>
                </a:solidFill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altLang="en-US" sz="2400" b="1" dirty="0">
                <a:solidFill>
                  <a:srgbClr val="00B050"/>
                </a:solidFill>
                <a:ea typeface="Tahoma" panose="020B0604030504040204" pitchFamily="34" charset="0"/>
                <a:cs typeface="Arial" panose="020B0604020202020204" pitchFamily="34" charset="0"/>
              </a:rPr>
              <a:t>млрд. </a:t>
            </a:r>
            <a:r>
              <a:rPr lang="ru-RU" altLang="en-US" sz="2400" b="1" dirty="0" smtClean="0">
                <a:solidFill>
                  <a:srgbClr val="00B050"/>
                </a:solidFill>
                <a:ea typeface="Tahoma" panose="020B0604030504040204" pitchFamily="34" charset="0"/>
                <a:cs typeface="Arial" panose="020B0604020202020204" pitchFamily="34" charset="0"/>
              </a:rPr>
              <a:t>те</a:t>
            </a:r>
            <a:r>
              <a:rPr lang="kk-KZ" altLang="en-US" sz="2400" b="1" dirty="0" smtClean="0">
                <a:solidFill>
                  <a:srgbClr val="00B050"/>
                </a:solidFill>
                <a:ea typeface="Tahoma" panose="020B0604030504040204" pitchFamily="34" charset="0"/>
                <a:cs typeface="Arial" panose="020B0604020202020204" pitchFamily="34" charset="0"/>
              </a:rPr>
              <a:t>ң</a:t>
            </a:r>
            <a:r>
              <a:rPr lang="ru-RU" altLang="en-US" sz="2400" b="1" dirty="0" err="1" smtClean="0">
                <a:solidFill>
                  <a:srgbClr val="00B050"/>
                </a:solidFill>
                <a:ea typeface="Tahoma" panose="020B0604030504040204" pitchFamily="34" charset="0"/>
                <a:cs typeface="Arial" panose="020B0604020202020204" pitchFamily="34" charset="0"/>
              </a:rPr>
              <a:t>ге</a:t>
            </a:r>
            <a:r>
              <a:rPr lang="ru-RU" altLang="en-US" sz="1800" b="1" dirty="0" smtClean="0"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altLang="en-US" sz="1800" b="1" dirty="0" err="1" smtClean="0">
                <a:ea typeface="Tahoma" panose="020B0604030504040204" pitchFamily="34" charset="0"/>
                <a:cs typeface="Arial" panose="020B0604020202020204" pitchFamily="34" charset="0"/>
              </a:rPr>
              <a:t>бөлінетін болады</a:t>
            </a:r>
            <a:r>
              <a:rPr lang="ru-RU" altLang="en-US" sz="2400" b="1" dirty="0" smtClean="0">
                <a:solidFill>
                  <a:srgbClr val="00B050"/>
                </a:solidFill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endParaRPr lang="ru-RU" altLang="en-US" sz="2400" b="1" dirty="0">
              <a:solidFill>
                <a:srgbClr val="00B050"/>
              </a:solidFill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grpSp>
        <p:nvGrpSpPr>
          <p:cNvPr id="70" name="Group 69"/>
          <p:cNvGrpSpPr/>
          <p:nvPr/>
        </p:nvGrpSpPr>
        <p:grpSpPr>
          <a:xfrm>
            <a:off x="126518" y="1819354"/>
            <a:ext cx="786374" cy="433926"/>
            <a:chOff x="101865" y="3113619"/>
            <a:chExt cx="1080093" cy="596002"/>
          </a:xfrm>
        </p:grpSpPr>
        <p:sp>
          <p:nvSpPr>
            <p:cNvPr id="71" name="Пятиугольник 3">
              <a:extLst>
                <a:ext uri="{FF2B5EF4-FFF2-40B4-BE49-F238E27FC236}">
                  <a16:creationId xmlns:a16="http://schemas.microsoft.com/office/drawing/2014/main" id="{6E48720C-5D75-4BE2-8B0D-D814E381AB48}"/>
                </a:ext>
              </a:extLst>
            </p:cNvPr>
            <p:cNvSpPr/>
            <p:nvPr/>
          </p:nvSpPr>
          <p:spPr>
            <a:xfrm>
              <a:off x="657207" y="3275695"/>
              <a:ext cx="524751" cy="271851"/>
            </a:xfrm>
            <a:prstGeom prst="homePlate">
              <a:avLst>
                <a:gd name="adj" fmla="val 26596"/>
              </a:avLst>
            </a:prstGeom>
            <a:pattFill prst="dkUpDiag">
              <a:fgClr>
                <a:srgbClr val="2DBDEF">
                  <a:lumMod val="20000"/>
                  <a:lumOff val="80000"/>
                </a:srgbClr>
              </a:fgClr>
              <a:bgClr>
                <a:srgbClr val="FFFFFF"/>
              </a:bgClr>
            </a:pattFill>
            <a:ln w="3175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lIns="36000" tIns="0" rIns="36000" bIns="0" anchor="ctr"/>
            <a:lstStyle/>
            <a:p>
              <a:pPr algn="ctr" defTabSz="913936" eaLnBrk="1" hangingPunct="1">
                <a:spcBef>
                  <a:spcPts val="0"/>
                </a:spcBef>
                <a:buClr>
                  <a:srgbClr val="000000"/>
                </a:buClr>
                <a:defRPr/>
              </a:pPr>
              <a:endParaRPr lang="ru-RU" sz="1600" b="1" dirty="0">
                <a:solidFill>
                  <a:srgbClr val="000000"/>
                </a:solidFill>
                <a:ea typeface="ＭＳ Ｐゴシック"/>
                <a:cs typeface="Arial" panose="020B0604020202020204" pitchFamily="34" charset="0"/>
              </a:endParaRPr>
            </a:p>
          </p:txBody>
        </p:sp>
        <p:sp>
          <p:nvSpPr>
            <p:cNvPr id="72" name="Oval 118">
              <a:extLst>
                <a:ext uri="{FF2B5EF4-FFF2-40B4-BE49-F238E27FC236}">
                  <a16:creationId xmlns:a16="http://schemas.microsoft.com/office/drawing/2014/main" id="{E5D99FA0-DBD9-4703-8FE7-57C1A2B954B6}"/>
                </a:ext>
              </a:extLst>
            </p:cNvPr>
            <p:cNvSpPr/>
            <p:nvPr/>
          </p:nvSpPr>
          <p:spPr>
            <a:xfrm>
              <a:off x="101865" y="3113619"/>
              <a:ext cx="592080" cy="596002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F8C51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defTabSz="913936" eaLnBrk="1" hangingPunct="1">
                <a:buClr>
                  <a:srgbClr val="FFFFFF"/>
                </a:buClr>
                <a:defRPr/>
              </a:pPr>
              <a:endParaRPr lang="ru-RU" sz="1600" dirty="0" err="1">
                <a:solidFill>
                  <a:srgbClr val="FFFFFF"/>
                </a:solidFill>
                <a:latin typeface="Segoe UI Light"/>
                <a:ea typeface="ＭＳ Ｐゴシック"/>
              </a:endParaRPr>
            </a:p>
          </p:txBody>
        </p:sp>
      </p:grpSp>
      <p:pic>
        <p:nvPicPr>
          <p:cNvPr id="73" name="Рисунок 12">
            <a:extLst>
              <a:ext uri="{FF2B5EF4-FFF2-40B4-BE49-F238E27FC236}">
                <a16:creationId xmlns:a16="http://schemas.microsoft.com/office/drawing/2014/main" id="{C9E2CC27-B713-45CA-AE8A-E47CB18C19C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673" y="1884697"/>
            <a:ext cx="288000" cy="288000"/>
          </a:xfrm>
          <a:prstGeom prst="rect">
            <a:avLst/>
          </a:prstGeom>
        </p:spPr>
      </p:pic>
      <p:grpSp>
        <p:nvGrpSpPr>
          <p:cNvPr id="67" name="Group 66"/>
          <p:cNvGrpSpPr/>
          <p:nvPr/>
        </p:nvGrpSpPr>
        <p:grpSpPr>
          <a:xfrm>
            <a:off x="8900201" y="4146418"/>
            <a:ext cx="76254" cy="487466"/>
            <a:chOff x="8989025" y="3973473"/>
            <a:chExt cx="76254" cy="487466"/>
          </a:xfrm>
        </p:grpSpPr>
        <p:cxnSp>
          <p:nvCxnSpPr>
            <p:cNvPr id="76" name="Straight Connector 353">
              <a:extLst>
                <a:ext uri="{FF2B5EF4-FFF2-40B4-BE49-F238E27FC236}">
                  <a16:creationId xmlns:a16="http://schemas.microsoft.com/office/drawing/2014/main" id="{DDFC0D4E-B76F-48C0-BDE5-F7C2D2C623C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989025" y="3973473"/>
              <a:ext cx="0" cy="487466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354">
              <a:extLst>
                <a:ext uri="{FF2B5EF4-FFF2-40B4-BE49-F238E27FC236}">
                  <a16:creationId xmlns:a16="http://schemas.microsoft.com/office/drawing/2014/main" id="{2A10090D-7D91-4925-8FA5-28404B9ADDF4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9065279" y="4065868"/>
              <a:ext cx="0" cy="302677"/>
            </a:xfrm>
            <a:prstGeom prst="line">
              <a:avLst/>
            </a:prstGeom>
            <a:ln w="1905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1" name="Group 60"/>
          <p:cNvGrpSpPr/>
          <p:nvPr/>
        </p:nvGrpSpPr>
        <p:grpSpPr>
          <a:xfrm>
            <a:off x="201836" y="4146418"/>
            <a:ext cx="76254" cy="487466"/>
            <a:chOff x="78722" y="3973473"/>
            <a:chExt cx="76254" cy="487466"/>
          </a:xfrm>
        </p:grpSpPr>
        <p:cxnSp>
          <p:nvCxnSpPr>
            <p:cNvPr id="78" name="Straight Connector 353">
              <a:extLst>
                <a:ext uri="{FF2B5EF4-FFF2-40B4-BE49-F238E27FC236}">
                  <a16:creationId xmlns:a16="http://schemas.microsoft.com/office/drawing/2014/main" id="{864A5106-369A-4E75-A000-9D97DB790ED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54976" y="3973473"/>
              <a:ext cx="0" cy="487466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354">
              <a:extLst>
                <a:ext uri="{FF2B5EF4-FFF2-40B4-BE49-F238E27FC236}">
                  <a16:creationId xmlns:a16="http://schemas.microsoft.com/office/drawing/2014/main" id="{73290DE6-2C7B-4399-A8A3-2FB1D37CC77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8722" y="4065868"/>
              <a:ext cx="0" cy="302677"/>
            </a:xfrm>
            <a:prstGeom prst="line">
              <a:avLst/>
            </a:prstGeom>
            <a:ln w="1905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Группа 27"/>
          <p:cNvGrpSpPr/>
          <p:nvPr/>
        </p:nvGrpSpPr>
        <p:grpSpPr>
          <a:xfrm>
            <a:off x="353019" y="3644167"/>
            <a:ext cx="8495194" cy="337450"/>
            <a:chOff x="353019" y="3928171"/>
            <a:chExt cx="8495194" cy="282383"/>
          </a:xfrm>
        </p:grpSpPr>
        <p:cxnSp>
          <p:nvCxnSpPr>
            <p:cNvPr id="27" name="Прямая соединительная линия 26"/>
            <p:cNvCxnSpPr/>
            <p:nvPr/>
          </p:nvCxnSpPr>
          <p:spPr>
            <a:xfrm>
              <a:off x="4600514" y="4070110"/>
              <a:ext cx="0" cy="101214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Правая фигурная скобка 2"/>
            <p:cNvSpPr/>
            <p:nvPr/>
          </p:nvSpPr>
          <p:spPr>
            <a:xfrm rot="16200000" flipH="1" flipV="1">
              <a:off x="4467909" y="-169750"/>
              <a:ext cx="265414" cy="8495194"/>
            </a:xfrm>
            <a:prstGeom prst="rightBrace">
              <a:avLst>
                <a:gd name="adj1" fmla="val 0"/>
                <a:gd name="adj2" fmla="val 50000"/>
              </a:avLst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Прямоугольник 4"/>
            <p:cNvSpPr/>
            <p:nvPr/>
          </p:nvSpPr>
          <p:spPr>
            <a:xfrm>
              <a:off x="4512891" y="3928171"/>
              <a:ext cx="152400" cy="14184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32"/>
          <p:cNvCxnSpPr/>
          <p:nvPr/>
        </p:nvCxnSpPr>
        <p:spPr>
          <a:xfrm>
            <a:off x="0" y="615950"/>
            <a:ext cx="9144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1"/>
          <p:cNvSpPr txBox="1">
            <a:spLocks/>
          </p:cNvSpPr>
          <p:nvPr/>
        </p:nvSpPr>
        <p:spPr bwMode="auto">
          <a:xfrm>
            <a:off x="174625" y="65088"/>
            <a:ext cx="8794750" cy="514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 algn="l" defTabSz="685122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06508" algn="l"/>
              </a:tabLst>
              <a:defRPr sz="1454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2pPr>
            <a:lvl3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3pPr>
            <a:lvl4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4pPr>
            <a:lvl5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5pPr>
            <a:lvl6pPr marL="349849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6pPr>
            <a:lvl7pPr marL="699699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7pPr>
            <a:lvl8pPr marL="1049548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8pPr>
            <a:lvl9pPr marL="1399398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12694" algn="ctr" defTabSz="913936" fontAlgn="auto">
              <a:spcBef>
                <a:spcPts val="100"/>
              </a:spcBef>
              <a:spcAft>
                <a:spcPts val="0"/>
              </a:spcAft>
              <a:tabLst/>
              <a:defRPr/>
            </a:pPr>
            <a:r>
              <a:rPr lang="ru-RU" sz="1800" b="1" kern="0" spc="5" dirty="0" smtClean="0">
                <a:solidFill>
                  <a:srgbClr val="006FCE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«</a:t>
            </a:r>
            <a:r>
              <a:rPr lang="ru-RU" sz="1800" b="1" kern="0" spc="5" dirty="0">
                <a:solidFill>
                  <a:srgbClr val="006FCE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АУЫЛ – ЕЛ БЕСІГІ</a:t>
            </a:r>
            <a:r>
              <a:rPr lang="ru-RU" sz="1800" b="1" kern="0" spc="5" dirty="0" smtClean="0">
                <a:solidFill>
                  <a:srgbClr val="006FCE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» ЖОБАСЫ </a:t>
            </a:r>
            <a:endParaRPr lang="ru-RU" sz="1800" b="1" kern="0" spc="5" dirty="0">
              <a:solidFill>
                <a:srgbClr val="006FCE"/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6A472F07-F82F-4A37-9FE0-BA98387E8DE6}"/>
              </a:ext>
            </a:extLst>
          </p:cNvPr>
          <p:cNvGrpSpPr/>
          <p:nvPr/>
        </p:nvGrpSpPr>
        <p:grpSpPr>
          <a:xfrm>
            <a:off x="305197" y="735960"/>
            <a:ext cx="8584039" cy="4274191"/>
            <a:chOff x="1503084" y="1230338"/>
            <a:chExt cx="4343149" cy="3169924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7842E4DA-0295-4721-9292-970CE12BFC9E}"/>
                </a:ext>
              </a:extLst>
            </p:cNvPr>
            <p:cNvSpPr txBox="1">
              <a:spLocks/>
            </p:cNvSpPr>
            <p:nvPr/>
          </p:nvSpPr>
          <p:spPr>
            <a:xfrm rot="10800000">
              <a:off x="1503084" y="1230338"/>
              <a:ext cx="2127661" cy="3169922"/>
            </a:xfrm>
            <a:prstGeom prst="round2SameRect">
              <a:avLst>
                <a:gd name="adj1" fmla="val 10413"/>
                <a:gd name="adj2" fmla="val 4739"/>
              </a:avLst>
            </a:prstGeom>
            <a:solidFill>
              <a:schemeClr val="bg1"/>
            </a:solidFill>
            <a:ln w="19050">
              <a:solidFill>
                <a:srgbClr val="00B0F0">
                  <a:alpha val="50000"/>
                </a:srgbClr>
              </a:solidFill>
            </a:ln>
          </p:spPr>
          <p:txBody>
            <a:bodyPr vert="vert" wrap="square" lIns="55097" tIns="936646" rIns="55104" bIns="55104" rtlCol="0" anchor="ctr" anchorCtr="0">
              <a:noAutofit/>
            </a:bodyPr>
            <a:lstStyle>
              <a:lvl1pPr marL="0" lvl="0" indent="0" algn="l" defTabSz="895350" rtl="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algn="l" defTabSz="895350" rtl="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algn="l" defTabSz="895350" rtl="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algn="l" defTabSz="895350" rtl="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algn="l" defTabSz="895350" rtl="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chemeClr val="bg1"/>
                </a:buClr>
              </a:pPr>
              <a:endParaRPr lang="ru-RU" sz="11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8F710895-A14C-476D-BD8D-5903374B4737}"/>
                </a:ext>
              </a:extLst>
            </p:cNvPr>
            <p:cNvSpPr txBox="1">
              <a:spLocks/>
            </p:cNvSpPr>
            <p:nvPr/>
          </p:nvSpPr>
          <p:spPr>
            <a:xfrm rot="10800000">
              <a:off x="3718572" y="1230340"/>
              <a:ext cx="2127661" cy="3169922"/>
            </a:xfrm>
            <a:prstGeom prst="round2SameRect">
              <a:avLst>
                <a:gd name="adj1" fmla="val 10413"/>
                <a:gd name="adj2" fmla="val 4513"/>
              </a:avLst>
            </a:prstGeom>
            <a:solidFill>
              <a:schemeClr val="bg1"/>
            </a:solidFill>
            <a:ln w="19050">
              <a:solidFill>
                <a:srgbClr val="00B0F0">
                  <a:alpha val="50000"/>
                </a:srgbClr>
              </a:solidFill>
            </a:ln>
          </p:spPr>
          <p:txBody>
            <a:bodyPr vert="vert" wrap="square" lIns="55097" tIns="936646" rIns="55104" bIns="55104" rtlCol="0" anchor="ctr" anchorCtr="0">
              <a:noAutofit/>
            </a:bodyPr>
            <a:lstStyle>
              <a:lvl1pPr marL="0" lvl="0" indent="0" algn="l" defTabSz="895350" rtl="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algn="l" defTabSz="895350" rtl="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algn="l" defTabSz="895350" rtl="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algn="l" defTabSz="895350" rtl="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algn="l" defTabSz="895350" rtl="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chemeClr val="bg1"/>
                </a:buClr>
              </a:pPr>
              <a:endParaRPr lang="ru-RU" sz="11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1" name="TextBox 40">
            <a:extLst>
              <a:ext uri="{FF2B5EF4-FFF2-40B4-BE49-F238E27FC236}">
                <a16:creationId xmlns:a16="http://schemas.microsoft.com/office/drawing/2014/main" id="{BDE7C8B2-3DD7-4513-8AFF-DB897595F481}"/>
              </a:ext>
            </a:extLst>
          </p:cNvPr>
          <p:cNvSpPr txBox="1">
            <a:spLocks/>
          </p:cNvSpPr>
          <p:nvPr/>
        </p:nvSpPr>
        <p:spPr>
          <a:xfrm>
            <a:off x="174630" y="822145"/>
            <a:ext cx="8794751" cy="835209"/>
          </a:xfrm>
          <a:prstGeom prst="roundRect">
            <a:avLst/>
          </a:prstGeom>
          <a:solidFill>
            <a:srgbClr val="C9F0FF"/>
          </a:solidFill>
          <a:ln>
            <a:noFill/>
          </a:ln>
        </p:spPr>
        <p:txBody>
          <a:bodyPr vert="vert" wrap="square" lIns="55069" tIns="936170" rIns="55076" bIns="55076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bg1"/>
              </a:buClr>
              <a:defRPr sz="2000" b="1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endParaRPr lang="ru-RU" sz="11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3F74C4FB-B4AD-493E-8D53-F44F6BE77361}"/>
              </a:ext>
            </a:extLst>
          </p:cNvPr>
          <p:cNvSpPr/>
          <p:nvPr/>
        </p:nvSpPr>
        <p:spPr>
          <a:xfrm>
            <a:off x="254769" y="914637"/>
            <a:ext cx="637937" cy="637937"/>
          </a:xfrm>
          <a:prstGeom prst="ellipse">
            <a:avLst/>
          </a:prstGeom>
          <a:solidFill>
            <a:schemeClr val="bg1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4" tIns="45696" rIns="91394" bIns="45696" rtlCol="0" anchor="ctr"/>
          <a:lstStyle/>
          <a:p>
            <a:pPr algn="ctr"/>
            <a:endParaRPr lang="ru-RU" sz="11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3" name="Picture 2" descr="C:\Users\ERI\Downloads\target.png">
            <a:extLst>
              <a:ext uri="{FF2B5EF4-FFF2-40B4-BE49-F238E27FC236}">
                <a16:creationId xmlns:a16="http://schemas.microsoft.com/office/drawing/2014/main" id="{9299A6EE-28C0-4D9D-A00C-797A4CD406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125" y="1039766"/>
            <a:ext cx="387212" cy="387678"/>
          </a:xfrm>
          <a:prstGeom prst="rect">
            <a:avLst/>
          </a:prstGeom>
          <a:noFill/>
          <a:ln w="12700" cap="flat">
            <a:noFill/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Прямоугольник 2">
            <a:extLst>
              <a:ext uri="{FF2B5EF4-FFF2-40B4-BE49-F238E27FC236}">
                <a16:creationId xmlns:a16="http://schemas.microsoft.com/office/drawing/2014/main" id="{7CDD46C8-023A-4964-8FAA-1E3FEF78ED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21303" y="833152"/>
            <a:ext cx="7010402" cy="8309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394" tIns="45696" rIns="91394" bIns="45696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eaLnBrk="1" fontAlgn="ctr" hangingPunct="1">
              <a:spcAft>
                <a:spcPts val="1200"/>
              </a:spcAft>
            </a:pPr>
            <a:r>
              <a:rPr lang="kk-KZ" altLang="en-US" sz="1600" b="1" dirty="0" smtClean="0">
                <a:solidFill>
                  <a:srgbClr val="00CC5C"/>
                </a:solidFill>
                <a:ea typeface="Tahoma" panose="020B0604030504040204" pitchFamily="34" charset="0"/>
                <a:cs typeface="Arial" panose="020B0604020202020204" pitchFamily="34" charset="0"/>
              </a:rPr>
              <a:t>Инфрақұрылымды</a:t>
            </a:r>
            <a:r>
              <a:rPr lang="kk-KZ" altLang="en-US" dirty="0" smtClean="0"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kk-KZ" altLang="en-US" sz="1600" b="1" dirty="0" smtClean="0">
                <a:solidFill>
                  <a:srgbClr val="00CC5C"/>
                </a:solidFill>
                <a:ea typeface="Tahoma" panose="020B0604030504040204" pitchFamily="34" charset="0"/>
                <a:cs typeface="Arial" panose="020B0604020202020204" pitchFamily="34" charset="0"/>
              </a:rPr>
              <a:t>жаңа өңірлік стандарттар </a:t>
            </a:r>
            <a:r>
              <a:rPr lang="kk-KZ" altLang="en-US" dirty="0" smtClean="0">
                <a:ea typeface="Tahoma" panose="020B0604030504040204" pitchFamily="34" charset="0"/>
                <a:cs typeface="Arial" panose="020B0604020202020204" pitchFamily="34" charset="0"/>
              </a:rPr>
              <a:t>параметрлеріне жеткізе отырып, оны жаңғырту есебінен </a:t>
            </a:r>
            <a:r>
              <a:rPr lang="kk-KZ" altLang="en-US" sz="1600" b="1" dirty="0" smtClean="0">
                <a:solidFill>
                  <a:srgbClr val="00CC5C"/>
                </a:solidFill>
                <a:ea typeface="Tahoma" panose="020B0604030504040204" pitchFamily="34" charset="0"/>
                <a:cs typeface="Arial" panose="020B0604020202020204" pitchFamily="34" charset="0"/>
              </a:rPr>
              <a:t>ауыл тұрғындарының өмір сүру деңгейін </a:t>
            </a:r>
            <a:r>
              <a:rPr lang="kk-KZ" altLang="en-US" dirty="0" smtClean="0">
                <a:ea typeface="Tahoma" panose="020B0604030504040204" pitchFamily="34" charset="0"/>
                <a:cs typeface="Arial" panose="020B0604020202020204" pitchFamily="34" charset="0"/>
              </a:rPr>
              <a:t>арттыру</a:t>
            </a:r>
            <a:endParaRPr lang="kk-KZ" altLang="en-US" sz="1600" b="1" dirty="0">
              <a:solidFill>
                <a:srgbClr val="00B050"/>
              </a:solidFill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CFE5FE78-9D49-40CD-A2EF-639408818285}"/>
              </a:ext>
            </a:extLst>
          </p:cNvPr>
          <p:cNvSpPr txBox="1">
            <a:spLocks/>
          </p:cNvSpPr>
          <p:nvPr/>
        </p:nvSpPr>
        <p:spPr>
          <a:xfrm>
            <a:off x="922580" y="1091523"/>
            <a:ext cx="1133324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sz="1071"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70CE"/>
              </a:buClr>
              <a:defRPr/>
            </a:pPr>
            <a:r>
              <a:rPr lang="ru-RU" sz="1600" b="1" kern="0" dirty="0" smtClean="0">
                <a:solidFill>
                  <a:srgbClr val="0070CE"/>
                </a:solidFill>
                <a:latin typeface="Arial" pitchFamily="34" charset="0"/>
                <a:ea typeface="+mn-ea"/>
                <a:cs typeface="Arial" pitchFamily="34" charset="0"/>
              </a:rPr>
              <a:t>МАҚСАТЫ:</a:t>
            </a:r>
            <a:endParaRPr lang="ru-RU" sz="1600" b="1" kern="0" dirty="0">
              <a:solidFill>
                <a:srgbClr val="0070CE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6" name="Прямоугольник 57">
            <a:extLst>
              <a:ext uri="{FF2B5EF4-FFF2-40B4-BE49-F238E27FC236}">
                <a16:creationId xmlns:a16="http://schemas.microsoft.com/office/drawing/2014/main" id="{7759B1E3-E5F6-414D-842D-01EF226A92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5196" y="2481860"/>
            <a:ext cx="4114403" cy="2123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394" tIns="45696" rIns="91394" bIns="45696">
            <a:spAutoFit/>
          </a:bodyPr>
          <a:lstStyle>
            <a:lvl1pPr marL="182563" indent="-182563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algn="just" eaLnBrk="1" fontAlgn="ctr" hangingPunct="1">
              <a:spcAft>
                <a:spcPts val="1800"/>
              </a:spcAft>
              <a:buFont typeface="Arial" panose="020B0604020202020204" pitchFamily="34" charset="0"/>
              <a:buChar char="-"/>
            </a:pPr>
            <a:r>
              <a:rPr lang="kk-KZ" altLang="en-US" dirty="0" smtClean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Әлеуметтік және инженерлік </a:t>
            </a:r>
            <a:r>
              <a:rPr lang="kk-KZ" altLang="en-US" sz="1600" b="1" dirty="0" smtClean="0">
                <a:solidFill>
                  <a:srgbClr val="00CC5C"/>
                </a:solidFill>
                <a:ea typeface="Tahoma" panose="020B0604030504040204" pitchFamily="34" charset="0"/>
                <a:cs typeface="Arial" panose="020B0604020202020204" pitchFamily="34" charset="0"/>
              </a:rPr>
              <a:t>инфрақұрылымды</a:t>
            </a:r>
            <a:r>
              <a:rPr lang="kk-KZ" altLang="en-US" dirty="0" smtClean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 дамыту</a:t>
            </a:r>
          </a:p>
          <a:p>
            <a:pPr algn="just" eaLnBrk="1" fontAlgn="ctr" hangingPunct="1">
              <a:spcAft>
                <a:spcPts val="1800"/>
              </a:spcAft>
              <a:buFont typeface="Arial" panose="020B0604020202020204" pitchFamily="34" charset="0"/>
              <a:buChar char="-"/>
            </a:pPr>
            <a:r>
              <a:rPr lang="kk-KZ" altLang="en-US" dirty="0" smtClean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Ауыл тұрғындарының әлеуметтік игіліктер мен мемлекеттік қызметтерге </a:t>
            </a:r>
            <a:r>
              <a:rPr lang="kk-KZ" altLang="en-US" sz="1600" b="1" dirty="0" smtClean="0">
                <a:solidFill>
                  <a:srgbClr val="00CC5C"/>
                </a:solidFill>
                <a:ea typeface="Tahoma" panose="020B0604030504040204" pitchFamily="34" charset="0"/>
                <a:cs typeface="Arial" panose="020B0604020202020204" pitchFamily="34" charset="0"/>
              </a:rPr>
              <a:t>қолжетімділігін</a:t>
            </a:r>
            <a:r>
              <a:rPr lang="kk-KZ" altLang="en-US" dirty="0" smtClean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 қамтамасыз ету </a:t>
            </a:r>
            <a:r>
              <a:rPr lang="kk-KZ" altLang="en-US" sz="1200" i="1" dirty="0" smtClean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(қадамдық қол жетімділік)</a:t>
            </a:r>
            <a:endParaRPr lang="kk-KZ" altLang="en-US" i="1" dirty="0" smtClean="0">
              <a:solidFill>
                <a:srgbClr val="006FCE"/>
              </a:solidFill>
              <a:ea typeface="Tahoma" panose="020B0604030504040204" pitchFamily="34" charset="0"/>
              <a:cs typeface="Arial" panose="020B0604020202020204" pitchFamily="34" charset="0"/>
            </a:endParaRPr>
          </a:p>
          <a:p>
            <a:pPr algn="just" eaLnBrk="1" fontAlgn="ctr" hangingPunct="1">
              <a:spcAft>
                <a:spcPts val="1800"/>
              </a:spcAft>
              <a:buFont typeface="Arial" panose="020B0604020202020204" pitchFamily="34" charset="0"/>
              <a:buChar char="-"/>
            </a:pPr>
            <a:r>
              <a:rPr lang="kk-KZ" altLang="en-US" sz="1600" b="1" dirty="0" smtClean="0">
                <a:solidFill>
                  <a:srgbClr val="00CC5C"/>
                </a:solidFill>
                <a:ea typeface="Tahoma" panose="020B0604030504040204" pitchFamily="34" charset="0"/>
                <a:cs typeface="Arial" panose="020B0604020202020204" pitchFamily="34" charset="0"/>
              </a:rPr>
              <a:t>Жайлы</a:t>
            </a:r>
            <a:r>
              <a:rPr lang="kk-KZ" altLang="en-US" dirty="0" smtClean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 өмір сүру ортасын құру</a:t>
            </a:r>
            <a:endParaRPr lang="kk-KZ" altLang="en-US" dirty="0">
              <a:solidFill>
                <a:srgbClr val="006FCE"/>
              </a:solidFill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55FE75A5-C0A8-47FF-AA75-7A448974C2C5}"/>
              </a:ext>
            </a:extLst>
          </p:cNvPr>
          <p:cNvGrpSpPr/>
          <p:nvPr/>
        </p:nvGrpSpPr>
        <p:grpSpPr>
          <a:xfrm>
            <a:off x="649944" y="1797186"/>
            <a:ext cx="657560" cy="439407"/>
            <a:chOff x="101865" y="3113619"/>
            <a:chExt cx="891898" cy="596002"/>
          </a:xfrm>
        </p:grpSpPr>
        <p:sp>
          <p:nvSpPr>
            <p:cNvPr id="48" name="Пятиугольник 3">
              <a:extLst>
                <a:ext uri="{FF2B5EF4-FFF2-40B4-BE49-F238E27FC236}">
                  <a16:creationId xmlns:a16="http://schemas.microsoft.com/office/drawing/2014/main" id="{781B0FCE-E99E-4585-9851-5B8CE40E9F6B}"/>
                </a:ext>
              </a:extLst>
            </p:cNvPr>
            <p:cNvSpPr/>
            <p:nvPr/>
          </p:nvSpPr>
          <p:spPr>
            <a:xfrm>
              <a:off x="631043" y="3288777"/>
              <a:ext cx="362720" cy="271851"/>
            </a:xfrm>
            <a:prstGeom prst="homePlate">
              <a:avLst>
                <a:gd name="adj" fmla="val 26596"/>
              </a:avLst>
            </a:prstGeom>
            <a:pattFill prst="dkUpDiag">
              <a:fgClr>
                <a:srgbClr val="2DBDEF">
                  <a:lumMod val="20000"/>
                  <a:lumOff val="80000"/>
                </a:srgbClr>
              </a:fgClr>
              <a:bgClr>
                <a:srgbClr val="FFFFFF"/>
              </a:bgClr>
            </a:pattFill>
            <a:ln w="3175">
              <a:noFill/>
              <a:miter lim="800000"/>
              <a:headEnd/>
              <a:tailEnd/>
            </a:ln>
          </p:spPr>
          <p:txBody>
            <a:bodyPr lIns="36000" tIns="0" rIns="36000" bIns="0" anchor="ctr"/>
            <a:lstStyle/>
            <a:p>
              <a:pPr algn="ctr">
                <a:spcBef>
                  <a:spcPts val="0"/>
                </a:spcBef>
                <a:buClr>
                  <a:srgbClr val="000000"/>
                </a:buClr>
                <a:defRPr/>
              </a:pPr>
              <a:endParaRPr lang="ru-RU" sz="1200" b="1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49" name="Oval 118">
              <a:extLst>
                <a:ext uri="{FF2B5EF4-FFF2-40B4-BE49-F238E27FC236}">
                  <a16:creationId xmlns:a16="http://schemas.microsoft.com/office/drawing/2014/main" id="{D4D8EE0C-0223-4425-89BE-206C1B9797DE}"/>
                </a:ext>
              </a:extLst>
            </p:cNvPr>
            <p:cNvSpPr/>
            <p:nvPr/>
          </p:nvSpPr>
          <p:spPr>
            <a:xfrm>
              <a:off x="101865" y="3113619"/>
              <a:ext cx="592080" cy="596002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>
                <a:buClr>
                  <a:srgbClr val="FFFFFF"/>
                </a:buClr>
                <a:defRPr/>
              </a:pPr>
              <a:endParaRPr lang="ru-RU" sz="1200" dirty="0" err="1">
                <a:solidFill>
                  <a:srgbClr val="FFFFFF"/>
                </a:solidFill>
                <a:latin typeface="Segoe UI Light"/>
                <a:ea typeface="ＭＳ Ｐゴシック"/>
              </a:endParaRPr>
            </a:p>
          </p:txBody>
        </p:sp>
      </p:grpSp>
      <p:pic>
        <p:nvPicPr>
          <p:cNvPr id="51" name="Picture 3" descr="C:\Users\ERI\Downloads\checking.png">
            <a:extLst>
              <a:ext uri="{FF2B5EF4-FFF2-40B4-BE49-F238E27FC236}">
                <a16:creationId xmlns:a16="http://schemas.microsoft.com/office/drawing/2014/main" id="{BEA8A322-C803-4264-A078-54526AD7C5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925" y="1885445"/>
            <a:ext cx="276197" cy="262884"/>
          </a:xfrm>
          <a:prstGeom prst="rect">
            <a:avLst/>
          </a:prstGeom>
          <a:noFill/>
          <a:ln w="12700" cap="flat">
            <a:noFill/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2" name="Group 51">
            <a:extLst>
              <a:ext uri="{FF2B5EF4-FFF2-40B4-BE49-F238E27FC236}">
                <a16:creationId xmlns:a16="http://schemas.microsoft.com/office/drawing/2014/main" id="{25CE82F4-5CFA-47F3-B4EE-B592366B6F82}"/>
              </a:ext>
            </a:extLst>
          </p:cNvPr>
          <p:cNvGrpSpPr/>
          <p:nvPr/>
        </p:nvGrpSpPr>
        <p:grpSpPr>
          <a:xfrm>
            <a:off x="4936194" y="1797186"/>
            <a:ext cx="657560" cy="439407"/>
            <a:chOff x="101865" y="3113619"/>
            <a:chExt cx="891898" cy="596002"/>
          </a:xfrm>
        </p:grpSpPr>
        <p:sp>
          <p:nvSpPr>
            <p:cNvPr id="53" name="Пятиугольник 3">
              <a:extLst>
                <a:ext uri="{FF2B5EF4-FFF2-40B4-BE49-F238E27FC236}">
                  <a16:creationId xmlns:a16="http://schemas.microsoft.com/office/drawing/2014/main" id="{F0C51653-0B9F-46AE-BCC1-7630F491BA93}"/>
                </a:ext>
              </a:extLst>
            </p:cNvPr>
            <p:cNvSpPr/>
            <p:nvPr/>
          </p:nvSpPr>
          <p:spPr>
            <a:xfrm>
              <a:off x="631043" y="3288777"/>
              <a:ext cx="362720" cy="271851"/>
            </a:xfrm>
            <a:prstGeom prst="homePlate">
              <a:avLst>
                <a:gd name="adj" fmla="val 26596"/>
              </a:avLst>
            </a:prstGeom>
            <a:pattFill prst="dkUpDiag">
              <a:fgClr>
                <a:srgbClr val="2DBDEF">
                  <a:lumMod val="20000"/>
                  <a:lumOff val="80000"/>
                </a:srgbClr>
              </a:fgClr>
              <a:bgClr>
                <a:srgbClr val="FFFFFF"/>
              </a:bgClr>
            </a:pattFill>
            <a:ln w="3175">
              <a:noFill/>
              <a:miter lim="800000"/>
              <a:headEnd/>
              <a:tailEnd/>
            </a:ln>
          </p:spPr>
          <p:txBody>
            <a:bodyPr lIns="36000" tIns="0" rIns="36000" bIns="0" anchor="ctr"/>
            <a:lstStyle/>
            <a:p>
              <a:pPr algn="ctr">
                <a:spcBef>
                  <a:spcPts val="0"/>
                </a:spcBef>
                <a:buClr>
                  <a:srgbClr val="000000"/>
                </a:buClr>
                <a:defRPr/>
              </a:pPr>
              <a:endParaRPr lang="ru-RU" sz="1200" b="1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54" name="Oval 118">
              <a:extLst>
                <a:ext uri="{FF2B5EF4-FFF2-40B4-BE49-F238E27FC236}">
                  <a16:creationId xmlns:a16="http://schemas.microsoft.com/office/drawing/2014/main" id="{B001B268-B47A-48E4-9BD2-23D18071ACA3}"/>
                </a:ext>
              </a:extLst>
            </p:cNvPr>
            <p:cNvSpPr/>
            <p:nvPr/>
          </p:nvSpPr>
          <p:spPr>
            <a:xfrm>
              <a:off x="101865" y="3113619"/>
              <a:ext cx="592080" cy="596002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>
                <a:buClr>
                  <a:srgbClr val="FFFFFF"/>
                </a:buClr>
                <a:defRPr/>
              </a:pPr>
              <a:endParaRPr lang="ru-RU" sz="1200" dirty="0" err="1">
                <a:solidFill>
                  <a:srgbClr val="FFFFFF"/>
                </a:solidFill>
                <a:latin typeface="Segoe UI Light"/>
                <a:ea typeface="ＭＳ Ｐゴシック"/>
              </a:endParaRPr>
            </a:p>
          </p:txBody>
        </p:sp>
      </p:grpSp>
      <p:sp>
        <p:nvSpPr>
          <p:cNvPr id="56" name="TextBox 55">
            <a:extLst>
              <a:ext uri="{FF2B5EF4-FFF2-40B4-BE49-F238E27FC236}">
                <a16:creationId xmlns:a16="http://schemas.microsoft.com/office/drawing/2014/main" id="{691D28CE-54F0-47C5-B528-2032B357C5BE}"/>
              </a:ext>
            </a:extLst>
          </p:cNvPr>
          <p:cNvSpPr txBox="1">
            <a:spLocks/>
          </p:cNvSpPr>
          <p:nvPr/>
        </p:nvSpPr>
        <p:spPr>
          <a:xfrm>
            <a:off x="1397282" y="1893779"/>
            <a:ext cx="1308050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sz="1071"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70CE"/>
              </a:buClr>
              <a:defRPr/>
            </a:pPr>
            <a:r>
              <a:rPr lang="ru-RU" sz="1600" b="1" kern="0" dirty="0" smtClean="0">
                <a:solidFill>
                  <a:srgbClr val="0070CE"/>
                </a:solidFill>
                <a:latin typeface="Arial" pitchFamily="34" charset="0"/>
                <a:ea typeface="+mn-ea"/>
                <a:cs typeface="Arial" pitchFamily="34" charset="0"/>
              </a:rPr>
              <a:t>МІНДЕТТЕРІ:</a:t>
            </a:r>
            <a:endParaRPr lang="ru-RU" sz="1600" b="1" kern="0" dirty="0">
              <a:solidFill>
                <a:srgbClr val="0070CE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7B396E31-BA04-4949-BD3F-52F6676B6D52}"/>
              </a:ext>
            </a:extLst>
          </p:cNvPr>
          <p:cNvSpPr txBox="1">
            <a:spLocks/>
          </p:cNvSpPr>
          <p:nvPr/>
        </p:nvSpPr>
        <p:spPr>
          <a:xfrm>
            <a:off x="5902199" y="1893856"/>
            <a:ext cx="692497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sz="1071"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70CE"/>
              </a:buClr>
              <a:defRPr/>
            </a:pPr>
            <a:r>
              <a:rPr lang="ru-RU" sz="1600" b="1" kern="0" dirty="0" smtClean="0">
                <a:solidFill>
                  <a:srgbClr val="0070CE"/>
                </a:solidFill>
                <a:latin typeface="Arial" pitchFamily="34" charset="0"/>
                <a:ea typeface="+mn-ea"/>
                <a:cs typeface="Arial" pitchFamily="34" charset="0"/>
              </a:rPr>
              <a:t>ТӘСІЛ:</a:t>
            </a:r>
            <a:endParaRPr lang="ru-RU" sz="1600" b="1" kern="0" dirty="0">
              <a:solidFill>
                <a:srgbClr val="0070CE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8" name="Прямоугольник 63">
            <a:extLst>
              <a:ext uri="{FF2B5EF4-FFF2-40B4-BE49-F238E27FC236}">
                <a16:creationId xmlns:a16="http://schemas.microsoft.com/office/drawing/2014/main" id="{24682599-6182-4A6C-9BD0-6310E1A690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4011" y="2188966"/>
            <a:ext cx="4205226" cy="2305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94" tIns="45696" rIns="91394" bIns="45696" anchor="ctr"/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algn="just" eaLnBrk="1" hangingPunct="1">
              <a:spcBef>
                <a:spcPts val="1200"/>
              </a:spcBef>
              <a:spcAft>
                <a:spcPts val="1800"/>
              </a:spcAft>
            </a:pPr>
            <a:r>
              <a:rPr lang="kk-KZ" altLang="en-US" sz="1600" dirty="0" smtClean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Инфрақұрылыммен, мемлекеттік және әлеуметтік қызметтермен қамтамасыз ету үшін даму әлеуеті бар </a:t>
            </a:r>
            <a:r>
              <a:rPr lang="kk-KZ" altLang="en-US" i="1" dirty="0" smtClean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(тірек және спутниктік)</a:t>
            </a:r>
            <a:r>
              <a:rPr lang="kk-KZ" altLang="en-US" sz="1600" dirty="0" smtClean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kk-KZ" altLang="en-US" sz="1800" b="1" dirty="0" smtClean="0">
                <a:solidFill>
                  <a:srgbClr val="00CC5C"/>
                </a:solidFill>
                <a:ea typeface="Tahoma" panose="020B0604030504040204" pitchFamily="34" charset="0"/>
                <a:cs typeface="Arial" panose="020B0604020202020204" pitchFamily="34" charset="0"/>
              </a:rPr>
              <a:t>3,5 мыңнан астам ауыл </a:t>
            </a:r>
            <a:r>
              <a:rPr lang="kk-KZ" altLang="en-US" sz="1600" dirty="0" smtClean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анықталды, олар ауыл халқының </a:t>
            </a:r>
            <a:r>
              <a:rPr lang="kk-KZ" altLang="en-US" sz="1600" b="1" dirty="0" smtClean="0">
                <a:solidFill>
                  <a:srgbClr val="00CC5C"/>
                </a:solidFill>
                <a:ea typeface="Tahoma" panose="020B0604030504040204" pitchFamily="34" charset="0"/>
                <a:cs typeface="Arial" panose="020B0604020202020204" pitchFamily="34" charset="0"/>
              </a:rPr>
              <a:t>6,9 млн. </a:t>
            </a:r>
            <a:r>
              <a:rPr lang="kk-KZ" altLang="en-US" sz="1600" dirty="0" smtClean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(немесе </a:t>
            </a:r>
            <a:r>
              <a:rPr lang="kk-KZ" altLang="en-US" sz="1600" b="1" dirty="0" smtClean="0">
                <a:solidFill>
                  <a:srgbClr val="00CC5C"/>
                </a:solidFill>
                <a:ea typeface="Tahoma" panose="020B0604030504040204" pitchFamily="34" charset="0"/>
                <a:cs typeface="Arial" panose="020B0604020202020204" pitchFamily="34" charset="0"/>
              </a:rPr>
              <a:t>89%</a:t>
            </a:r>
            <a:r>
              <a:rPr lang="kk-KZ" altLang="en-US" sz="1600" dirty="0" smtClean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) қамтиды</a:t>
            </a:r>
            <a:endParaRPr lang="kk-KZ" altLang="en-US" sz="1600" dirty="0">
              <a:solidFill>
                <a:srgbClr val="006FCE"/>
              </a:solidFill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59" name="Picture 4" descr="C:\Users\ERI\Downloads\workflow.png">
            <a:extLst>
              <a:ext uri="{FF2B5EF4-FFF2-40B4-BE49-F238E27FC236}">
                <a16:creationId xmlns:a16="http://schemas.microsoft.com/office/drawing/2014/main" id="{1DC972CA-6593-4E76-8F12-9A7F93AE83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3248" y="1897277"/>
            <a:ext cx="262408" cy="258523"/>
          </a:xfrm>
          <a:prstGeom prst="rect">
            <a:avLst/>
          </a:prstGeom>
          <a:noFill/>
          <a:ln w="12700" cap="flat">
            <a:noFill/>
            <a:prstDash val="solid"/>
            <a:round/>
            <a:headEnd/>
            <a:tailEnd/>
          </a:ln>
        </p:spPr>
      </p:pic>
      <p:cxnSp>
        <p:nvCxnSpPr>
          <p:cNvPr id="60" name="Straight Connector 19">
            <a:extLst>
              <a:ext uri="{FF2B5EF4-FFF2-40B4-BE49-F238E27FC236}">
                <a16:creationId xmlns:a16="http://schemas.microsoft.com/office/drawing/2014/main" id="{624D9CD8-248A-40BA-A12F-581315B97645}"/>
              </a:ext>
            </a:extLst>
          </p:cNvPr>
          <p:cNvCxnSpPr>
            <a:cxnSpLocks/>
          </p:cNvCxnSpPr>
          <p:nvPr/>
        </p:nvCxnSpPr>
        <p:spPr bwMode="gray">
          <a:xfrm>
            <a:off x="380125" y="2359819"/>
            <a:ext cx="4039474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dash"/>
          </a:ln>
          <a:effectLst/>
        </p:spPr>
      </p:cxnSp>
      <p:cxnSp>
        <p:nvCxnSpPr>
          <p:cNvPr id="61" name="Straight Connector 19">
            <a:extLst>
              <a:ext uri="{FF2B5EF4-FFF2-40B4-BE49-F238E27FC236}">
                <a16:creationId xmlns:a16="http://schemas.microsoft.com/office/drawing/2014/main" id="{D924267F-6876-486B-AF33-BADD1B782D40}"/>
              </a:ext>
            </a:extLst>
          </p:cNvPr>
          <p:cNvCxnSpPr>
            <a:cxnSpLocks/>
          </p:cNvCxnSpPr>
          <p:nvPr/>
        </p:nvCxnSpPr>
        <p:spPr bwMode="gray">
          <a:xfrm>
            <a:off x="4780675" y="2359819"/>
            <a:ext cx="4039474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dash"/>
          </a:ln>
          <a:effectLst/>
        </p:spPr>
      </p:cxnSp>
    </p:spTree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3"/>
          <p:cNvSpPr txBox="1"/>
          <p:nvPr/>
        </p:nvSpPr>
        <p:spPr>
          <a:xfrm>
            <a:off x="162257" y="92925"/>
            <a:ext cx="8865013" cy="289820"/>
          </a:xfrm>
          <a:prstGeom prst="rect">
            <a:avLst/>
          </a:prstGeom>
        </p:spPr>
        <p:txBody>
          <a:bodyPr vert="horz" wrap="square" lIns="0" tIns="12694" rIns="0" bIns="0" rtlCol="0">
            <a:spAutoFit/>
          </a:bodyPr>
          <a:lstStyle/>
          <a:p>
            <a:pPr marL="12694" algn="ctr" defTabSz="913936" eaLnBrk="1" fontAlgn="auto" hangingPunct="1">
              <a:spcBef>
                <a:spcPts val="100"/>
              </a:spcBef>
              <a:spcAft>
                <a:spcPts val="0"/>
              </a:spcAft>
              <a:defRPr/>
            </a:pPr>
            <a:r>
              <a:rPr lang="ru-RU" sz="1800" b="1" kern="0" spc="5" dirty="0">
                <a:solidFill>
                  <a:srgbClr val="006FCE"/>
                </a:solidFill>
                <a:cs typeface="Arial" panose="020B0604020202020204" pitchFamily="34" charset="0"/>
              </a:rPr>
              <a:t>ПЕРСПЕКТИВАЛЫ АУЫЛДАР</a:t>
            </a:r>
          </a:p>
        </p:txBody>
      </p:sp>
      <p:grpSp>
        <p:nvGrpSpPr>
          <p:cNvPr id="39" name="Группа 38"/>
          <p:cNvGrpSpPr/>
          <p:nvPr/>
        </p:nvGrpSpPr>
        <p:grpSpPr>
          <a:xfrm>
            <a:off x="3671501" y="711318"/>
            <a:ext cx="3154835" cy="1131720"/>
            <a:chOff x="3665717" y="1067070"/>
            <a:chExt cx="2607945" cy="1131720"/>
          </a:xfrm>
        </p:grpSpPr>
        <p:sp>
          <p:nvSpPr>
            <p:cNvPr id="16" name="object 23"/>
            <p:cNvSpPr txBox="1"/>
            <p:nvPr/>
          </p:nvSpPr>
          <p:spPr>
            <a:xfrm>
              <a:off x="3665717" y="1067070"/>
              <a:ext cx="2607945" cy="1131720"/>
            </a:xfrm>
            <a:prstGeom prst="rect">
              <a:avLst/>
            </a:prstGeom>
          </p:spPr>
          <p:txBody>
            <a:bodyPr vert="horz" wrap="square" lIns="0" tIns="53975" rIns="0" bIns="0" rtlCol="0">
              <a:spAutoFit/>
            </a:bodyPr>
            <a:lstStyle/>
            <a:p>
              <a:pPr marL="38081" defTabSz="913936" eaLnBrk="1" fontAlgn="auto" hangingPunct="1">
                <a:spcBef>
                  <a:spcPts val="425"/>
                </a:spcBef>
                <a:spcAft>
                  <a:spcPts val="0"/>
                </a:spcAft>
                <a:tabLst>
                  <a:tab pos="2567904" algn="l"/>
                </a:tabLst>
                <a:defRPr/>
              </a:pPr>
              <a:r>
                <a:rPr lang="ru-RU" sz="1200" u="sng" kern="0" dirty="0">
                  <a:solidFill>
                    <a:srgbClr val="006FCE"/>
                  </a:solidFill>
                  <a:uFill>
                    <a:solidFill>
                      <a:srgbClr val="808080"/>
                    </a:solidFill>
                  </a:uFill>
                  <a:cs typeface="Arial" panose="020B0604020202020204" pitchFamily="34" charset="0"/>
                </a:rPr>
                <a:t>АЕМ </a:t>
              </a:r>
              <a:r>
                <a:rPr lang="ru-RU" sz="1200" u="sng" kern="0" dirty="0" err="1">
                  <a:solidFill>
                    <a:srgbClr val="006FCE"/>
                  </a:solidFill>
                  <a:uFill>
                    <a:solidFill>
                      <a:srgbClr val="808080"/>
                    </a:solidFill>
                  </a:uFill>
                  <a:cs typeface="Arial" panose="020B0604020202020204" pitchFamily="34" charset="0"/>
                </a:rPr>
                <a:t>түс</a:t>
              </a:r>
              <a:r>
                <a:rPr lang="ru-RU" sz="1200" u="sng" kern="0" dirty="0">
                  <a:solidFill>
                    <a:srgbClr val="006FCE"/>
                  </a:solidFill>
                  <a:uFill>
                    <a:solidFill>
                      <a:srgbClr val="808080"/>
                    </a:solidFill>
                  </a:uFill>
                  <a:cs typeface="Arial" panose="020B0604020202020204" pitchFamily="34" charset="0"/>
                </a:rPr>
                <a:t> </a:t>
              </a:r>
              <a:r>
                <a:rPr lang="ru-RU" sz="1200" u="sng" kern="0" dirty="0" err="1">
                  <a:solidFill>
                    <a:srgbClr val="006FCE"/>
                  </a:solidFill>
                  <a:uFill>
                    <a:solidFill>
                      <a:srgbClr val="808080"/>
                    </a:solidFill>
                  </a:uFill>
                  <a:cs typeface="Arial" panose="020B0604020202020204" pitchFamily="34" charset="0"/>
                </a:rPr>
                <a:t>схемасы</a:t>
              </a:r>
              <a:r>
                <a:rPr lang="ru-RU" sz="1200" u="sng" kern="0" dirty="0">
                  <a:solidFill>
                    <a:srgbClr val="006FCE"/>
                  </a:solidFill>
                  <a:uFill>
                    <a:solidFill>
                      <a:srgbClr val="808080"/>
                    </a:solidFill>
                  </a:uFill>
                  <a:cs typeface="Arial" panose="020B0604020202020204" pitchFamily="34" charset="0"/>
                </a:rPr>
                <a:t> </a:t>
              </a:r>
              <a:r>
                <a:rPr sz="1200" u="sng" kern="0" dirty="0" smtClean="0">
                  <a:solidFill>
                    <a:srgbClr val="006FCE"/>
                  </a:solidFill>
                  <a:uFill>
                    <a:solidFill>
                      <a:srgbClr val="808080"/>
                    </a:solidFill>
                  </a:uFill>
                  <a:cs typeface="Arial" panose="020B0604020202020204" pitchFamily="34" charset="0"/>
                </a:rPr>
                <a:t>	</a:t>
              </a:r>
              <a:endParaRPr sz="1200" kern="0" dirty="0" smtClean="0">
                <a:solidFill>
                  <a:sysClr val="windowText" lastClr="000000"/>
                </a:solidFill>
                <a:cs typeface="Arial" panose="020B0604020202020204" pitchFamily="34" charset="0"/>
              </a:endParaRPr>
            </a:p>
            <a:p>
              <a:pPr marL="295760" defTabSz="913936" eaLnBrk="1" fontAlgn="auto" hangingPunct="1">
                <a:spcBef>
                  <a:spcPts val="330"/>
                </a:spcBef>
                <a:spcAft>
                  <a:spcPts val="0"/>
                </a:spcAft>
                <a:defRPr/>
              </a:pPr>
              <a:r>
                <a:rPr lang="kk-KZ" sz="1200" kern="0" dirty="0" smtClean="0">
                  <a:solidFill>
                    <a:sysClr val="windowText" lastClr="000000"/>
                  </a:solidFill>
                  <a:cs typeface="Arial" panose="020B0604020202020204" pitchFamily="34" charset="0"/>
                </a:rPr>
                <a:t>Жоғары басымдық</a:t>
              </a:r>
            </a:p>
            <a:p>
              <a:pPr marL="295760" defTabSz="913936" eaLnBrk="1" fontAlgn="auto" hangingPunct="1">
                <a:spcBef>
                  <a:spcPts val="330"/>
                </a:spcBef>
                <a:spcAft>
                  <a:spcPts val="0"/>
                </a:spcAft>
                <a:defRPr/>
              </a:pPr>
              <a:r>
                <a:rPr lang="kk-KZ" sz="1200" kern="0" spc="-5" dirty="0" smtClean="0">
                  <a:solidFill>
                    <a:sysClr val="windowText" lastClr="000000"/>
                  </a:solidFill>
                  <a:cs typeface="Arial" panose="020B0604020202020204" pitchFamily="34" charset="0"/>
                </a:rPr>
                <a:t>Халықтың оң динамикасы </a:t>
              </a:r>
            </a:p>
            <a:p>
              <a:pPr marL="295760" defTabSz="913936" eaLnBrk="1" fontAlgn="auto" hangingPunct="1">
                <a:spcBef>
                  <a:spcPts val="330"/>
                </a:spcBef>
                <a:spcAft>
                  <a:spcPts val="0"/>
                </a:spcAft>
                <a:defRPr/>
              </a:pPr>
              <a:r>
                <a:rPr lang="kk-KZ" sz="1200" kern="0" spc="-5" dirty="0" smtClean="0">
                  <a:solidFill>
                    <a:sysClr val="windowText" lastClr="000000"/>
                  </a:solidFill>
                  <a:cs typeface="Arial" panose="020B0604020202020204" pitchFamily="34" charset="0"/>
                </a:rPr>
                <a:t>Халықтың бейтарап динамикасы</a:t>
              </a:r>
            </a:p>
            <a:p>
              <a:pPr marL="295760" defTabSz="913936" eaLnBrk="1" fontAlgn="auto" hangingPunct="1">
                <a:spcBef>
                  <a:spcPts val="330"/>
                </a:spcBef>
                <a:spcAft>
                  <a:spcPts val="0"/>
                </a:spcAft>
                <a:defRPr/>
              </a:pPr>
              <a:r>
                <a:rPr lang="kk-KZ" sz="1200" kern="0" spc="-5" dirty="0" smtClean="0">
                  <a:solidFill>
                    <a:sysClr val="windowText" lastClr="000000"/>
                  </a:solidFill>
                  <a:cs typeface="Arial" panose="020B0604020202020204" pitchFamily="34" charset="0"/>
                </a:rPr>
                <a:t>Халықтың теріс динамикасы</a:t>
              </a:r>
              <a:endParaRPr lang="kk-KZ" sz="1200" kern="0" dirty="0">
                <a:solidFill>
                  <a:sysClr val="windowText" lastClr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11" name="object 18"/>
            <p:cNvGrpSpPr/>
            <p:nvPr/>
          </p:nvGrpSpPr>
          <p:grpSpPr>
            <a:xfrm>
              <a:off x="3744391" y="1342071"/>
              <a:ext cx="143255" cy="822294"/>
              <a:chOff x="3386041" y="952500"/>
              <a:chExt cx="143255" cy="822294"/>
            </a:xfrm>
          </p:grpSpPr>
          <p:pic>
            <p:nvPicPr>
              <p:cNvPr id="12" name="object 19"/>
              <p:cNvPicPr/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3386041" y="952500"/>
                <a:ext cx="143255" cy="144779"/>
              </a:xfrm>
              <a:prstGeom prst="rect">
                <a:avLst/>
              </a:prstGeom>
            </p:spPr>
          </p:pic>
          <p:pic>
            <p:nvPicPr>
              <p:cNvPr id="13" name="object 20"/>
              <p:cNvPicPr/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3386041" y="1205582"/>
                <a:ext cx="143255" cy="143255"/>
              </a:xfrm>
              <a:prstGeom prst="rect">
                <a:avLst/>
              </a:prstGeom>
            </p:spPr>
          </p:pic>
          <p:pic>
            <p:nvPicPr>
              <p:cNvPr id="14" name="object 21"/>
              <p:cNvPicPr/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3386041" y="1414680"/>
                <a:ext cx="143255" cy="143255"/>
              </a:xfrm>
              <a:prstGeom prst="rect">
                <a:avLst/>
              </a:prstGeom>
            </p:spPr>
          </p:pic>
          <p:pic>
            <p:nvPicPr>
              <p:cNvPr id="15" name="object 22"/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3386041" y="1630015"/>
                <a:ext cx="143255" cy="144779"/>
              </a:xfrm>
              <a:prstGeom prst="rect">
                <a:avLst/>
              </a:prstGeom>
            </p:spPr>
          </p:pic>
        </p:grpSp>
      </p:grpSp>
      <p:pic>
        <p:nvPicPr>
          <p:cNvPr id="4" name="object 6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3951360" y="2094399"/>
            <a:ext cx="4889073" cy="2874071"/>
          </a:xfrm>
          <a:prstGeom prst="rect">
            <a:avLst/>
          </a:prstGeom>
        </p:spPr>
      </p:pic>
      <p:sp>
        <p:nvSpPr>
          <p:cNvPr id="17" name="object 24"/>
          <p:cNvSpPr/>
          <p:nvPr/>
        </p:nvSpPr>
        <p:spPr>
          <a:xfrm flipH="1">
            <a:off x="3511528" y="3320618"/>
            <a:ext cx="45719" cy="1649095"/>
          </a:xfrm>
          <a:custGeom>
            <a:avLst/>
            <a:gdLst/>
            <a:ahLst/>
            <a:cxnLst/>
            <a:rect l="l" t="t" r="r" b="b"/>
            <a:pathLst>
              <a:path h="1649095">
                <a:moveTo>
                  <a:pt x="0" y="0"/>
                </a:moveTo>
                <a:lnTo>
                  <a:pt x="0" y="1649082"/>
                </a:lnTo>
              </a:path>
            </a:pathLst>
          </a:custGeom>
          <a:ln w="6096">
            <a:solidFill>
              <a:srgbClr val="808080"/>
            </a:solidFill>
          </a:ln>
        </p:spPr>
        <p:txBody>
          <a:bodyPr wrap="square" lIns="0" tIns="0" rIns="0" bIns="0" rtlCol="0"/>
          <a:lstStyle/>
          <a:p>
            <a:pPr defTabSz="91393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sz="1800" kern="0">
              <a:solidFill>
                <a:sysClr val="windowText" lastClr="000000"/>
              </a:solidFill>
            </a:endParaRPr>
          </a:p>
        </p:txBody>
      </p:sp>
      <p:sp>
        <p:nvSpPr>
          <p:cNvPr id="18" name="object 25"/>
          <p:cNvSpPr/>
          <p:nvPr/>
        </p:nvSpPr>
        <p:spPr>
          <a:xfrm>
            <a:off x="3498557" y="708836"/>
            <a:ext cx="0" cy="1647825"/>
          </a:xfrm>
          <a:custGeom>
            <a:avLst/>
            <a:gdLst/>
            <a:ahLst/>
            <a:cxnLst/>
            <a:rect l="l" t="t" r="r" b="b"/>
            <a:pathLst>
              <a:path h="1647825">
                <a:moveTo>
                  <a:pt x="0" y="0"/>
                </a:moveTo>
                <a:lnTo>
                  <a:pt x="0" y="1647443"/>
                </a:lnTo>
              </a:path>
            </a:pathLst>
          </a:custGeom>
          <a:ln w="6096">
            <a:solidFill>
              <a:srgbClr val="808080"/>
            </a:solidFill>
          </a:ln>
        </p:spPr>
        <p:txBody>
          <a:bodyPr wrap="square" lIns="0" tIns="0" rIns="0" bIns="0" rtlCol="0"/>
          <a:lstStyle/>
          <a:p>
            <a:pPr defTabSz="91393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sz="1800" kern="0">
              <a:solidFill>
                <a:sysClr val="windowText" lastClr="000000"/>
              </a:solidFill>
            </a:endParaRPr>
          </a:p>
        </p:txBody>
      </p:sp>
      <p:grpSp>
        <p:nvGrpSpPr>
          <p:cNvPr id="19" name="object 26"/>
          <p:cNvGrpSpPr/>
          <p:nvPr/>
        </p:nvGrpSpPr>
        <p:grpSpPr>
          <a:xfrm>
            <a:off x="3379719" y="2496482"/>
            <a:ext cx="289560" cy="637540"/>
            <a:chOff x="2493264" y="2305811"/>
            <a:chExt cx="289560" cy="637540"/>
          </a:xfrm>
        </p:grpSpPr>
        <p:sp>
          <p:nvSpPr>
            <p:cNvPr id="20" name="object 27"/>
            <p:cNvSpPr/>
            <p:nvPr/>
          </p:nvSpPr>
          <p:spPr>
            <a:xfrm>
              <a:off x="2497836" y="2310383"/>
              <a:ext cx="181610" cy="628015"/>
            </a:xfrm>
            <a:custGeom>
              <a:avLst/>
              <a:gdLst/>
              <a:ahLst/>
              <a:cxnLst/>
              <a:rect l="l" t="t" r="r" b="b"/>
              <a:pathLst>
                <a:path w="181610" h="628014">
                  <a:moveTo>
                    <a:pt x="0" y="0"/>
                  </a:moveTo>
                  <a:lnTo>
                    <a:pt x="181356" y="313944"/>
                  </a:lnTo>
                  <a:lnTo>
                    <a:pt x="0" y="627888"/>
                  </a:lnTo>
                </a:path>
              </a:pathLst>
            </a:custGeom>
            <a:ln w="9144">
              <a:solidFill>
                <a:srgbClr val="85C7FF"/>
              </a:solidFill>
            </a:ln>
          </p:spPr>
          <p:txBody>
            <a:bodyPr wrap="square" lIns="0" tIns="0" rIns="0" bIns="0" rtlCol="0"/>
            <a:lstStyle/>
            <a:p>
              <a:pPr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1" name="object 28"/>
            <p:cNvSpPr/>
            <p:nvPr/>
          </p:nvSpPr>
          <p:spPr>
            <a:xfrm>
              <a:off x="2598420" y="2310383"/>
              <a:ext cx="180340" cy="628015"/>
            </a:xfrm>
            <a:custGeom>
              <a:avLst/>
              <a:gdLst/>
              <a:ahLst/>
              <a:cxnLst/>
              <a:rect l="l" t="t" r="r" b="b"/>
              <a:pathLst>
                <a:path w="180339" h="628014">
                  <a:moveTo>
                    <a:pt x="0" y="0"/>
                  </a:moveTo>
                  <a:lnTo>
                    <a:pt x="179831" y="313944"/>
                  </a:lnTo>
                  <a:lnTo>
                    <a:pt x="0" y="627888"/>
                  </a:lnTo>
                </a:path>
              </a:pathLst>
            </a:custGeom>
            <a:ln w="9144">
              <a:solidFill>
                <a:srgbClr val="006FCE"/>
              </a:solidFill>
            </a:ln>
          </p:spPr>
          <p:txBody>
            <a:bodyPr wrap="square" lIns="0" tIns="0" rIns="0" bIns="0" rtlCol="0"/>
            <a:lstStyle/>
            <a:p>
              <a:pPr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sz="1800" kern="0">
                <a:solidFill>
                  <a:sysClr val="windowText" lastClr="000000"/>
                </a:solidFill>
              </a:endParaRPr>
            </a:p>
          </p:txBody>
        </p:sp>
      </p:grpSp>
      <p:pic>
        <p:nvPicPr>
          <p:cNvPr id="22" name="object 29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172417" y="3464406"/>
            <a:ext cx="450359" cy="467380"/>
          </a:xfrm>
          <a:prstGeom prst="rect">
            <a:avLst/>
          </a:prstGeom>
        </p:spPr>
      </p:pic>
      <p:sp>
        <p:nvSpPr>
          <p:cNvPr id="23" name="object 33"/>
          <p:cNvSpPr txBox="1"/>
          <p:nvPr/>
        </p:nvSpPr>
        <p:spPr>
          <a:xfrm>
            <a:off x="-256674" y="3359247"/>
            <a:ext cx="3200399" cy="997703"/>
          </a:xfrm>
          <a:prstGeom prst="rect">
            <a:avLst/>
          </a:prstGeom>
        </p:spPr>
        <p:txBody>
          <a:bodyPr vert="horz" wrap="square" lIns="0" tIns="12694" rIns="0" bIns="0" rtlCol="0">
            <a:spAutoFit/>
          </a:bodyPr>
          <a:lstStyle/>
          <a:p>
            <a:pPr marL="618175" algn="ctr" defTabSz="91393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3200" b="1" kern="0" spc="5" dirty="0" smtClean="0">
                <a:solidFill>
                  <a:srgbClr val="00B050"/>
                </a:solidFill>
                <a:cs typeface="Arial" panose="020B0604020202020204" pitchFamily="34" charset="0"/>
              </a:rPr>
              <a:t>6,9 </a:t>
            </a:r>
          </a:p>
          <a:p>
            <a:pPr marL="618175" algn="ctr" defTabSz="91393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1800" b="1" kern="0" spc="5" dirty="0" smtClean="0">
                <a:solidFill>
                  <a:srgbClr val="00B050"/>
                </a:solidFill>
                <a:cs typeface="Arial" panose="020B0604020202020204" pitchFamily="34" charset="0"/>
              </a:rPr>
              <a:t>млн. адам</a:t>
            </a:r>
          </a:p>
          <a:p>
            <a:pPr marL="618175" defTabSz="91393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b="1" kern="0" spc="5" dirty="0" smtClean="0">
                <a:solidFill>
                  <a:srgbClr val="006FCE"/>
                </a:solidFill>
                <a:cs typeface="Arial" panose="020B0604020202020204" pitchFamily="34" charset="0"/>
              </a:rPr>
              <a:t>(ауыл тұрғындарының 89%)</a:t>
            </a:r>
            <a:endParaRPr lang="kk-KZ" b="1" kern="0" dirty="0">
              <a:solidFill>
                <a:sysClr val="windowText" lastClr="000000"/>
              </a:solidFill>
              <a:cs typeface="Arial" panose="020B0604020202020204" pitchFamily="34" charset="0"/>
            </a:endParaRPr>
          </a:p>
        </p:txBody>
      </p:sp>
      <p:grpSp>
        <p:nvGrpSpPr>
          <p:cNvPr id="24" name="object 38"/>
          <p:cNvGrpSpPr/>
          <p:nvPr/>
        </p:nvGrpSpPr>
        <p:grpSpPr>
          <a:xfrm>
            <a:off x="166686" y="1330999"/>
            <a:ext cx="497205" cy="467359"/>
            <a:chOff x="184048" y="614044"/>
            <a:chExt cx="497205" cy="467359"/>
          </a:xfrm>
        </p:grpSpPr>
        <p:sp>
          <p:nvSpPr>
            <p:cNvPr id="25" name="object 39"/>
            <p:cNvSpPr/>
            <p:nvPr/>
          </p:nvSpPr>
          <p:spPr>
            <a:xfrm>
              <a:off x="190144" y="699261"/>
              <a:ext cx="484505" cy="375920"/>
            </a:xfrm>
            <a:custGeom>
              <a:avLst/>
              <a:gdLst/>
              <a:ahLst/>
              <a:cxnLst/>
              <a:rect l="l" t="t" r="r" b="b"/>
              <a:pathLst>
                <a:path w="484505" h="375919">
                  <a:moveTo>
                    <a:pt x="80708" y="16637"/>
                  </a:moveTo>
                  <a:lnTo>
                    <a:pt x="183489" y="375920"/>
                  </a:lnTo>
                </a:path>
                <a:path w="484505" h="375919">
                  <a:moveTo>
                    <a:pt x="0" y="220472"/>
                  </a:moveTo>
                  <a:lnTo>
                    <a:pt x="127850" y="182879"/>
                  </a:lnTo>
                </a:path>
                <a:path w="484505" h="375919">
                  <a:moveTo>
                    <a:pt x="275615" y="100457"/>
                  </a:moveTo>
                  <a:lnTo>
                    <a:pt x="170802" y="131317"/>
                  </a:lnTo>
                  <a:lnTo>
                    <a:pt x="237210" y="360045"/>
                  </a:lnTo>
                </a:path>
                <a:path w="484505" h="375919">
                  <a:moveTo>
                    <a:pt x="134150" y="0"/>
                  </a:moveTo>
                  <a:lnTo>
                    <a:pt x="155638" y="77342"/>
                  </a:lnTo>
                  <a:lnTo>
                    <a:pt x="249554" y="48640"/>
                  </a:lnTo>
                </a:path>
                <a:path w="484505" h="375919">
                  <a:moveTo>
                    <a:pt x="207264" y="257937"/>
                  </a:moveTo>
                  <a:lnTo>
                    <a:pt x="484403" y="178308"/>
                  </a:lnTo>
                </a:path>
              </a:pathLst>
            </a:custGeom>
            <a:ln w="12192">
              <a:solidFill>
                <a:srgbClr val="006FCE"/>
              </a:solidFill>
            </a:ln>
          </p:spPr>
          <p:txBody>
            <a:bodyPr wrap="square" lIns="0" tIns="0" rIns="0" bIns="0" rtlCol="0"/>
            <a:lstStyle/>
            <a:p>
              <a:pPr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sz="1800" kern="0">
                <a:solidFill>
                  <a:sysClr val="windowText" lastClr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6" name="object 40"/>
            <p:cNvSpPr/>
            <p:nvPr/>
          </p:nvSpPr>
          <p:spPr>
            <a:xfrm>
              <a:off x="449427" y="620140"/>
              <a:ext cx="160655" cy="259079"/>
            </a:xfrm>
            <a:custGeom>
              <a:avLst/>
              <a:gdLst/>
              <a:ahLst/>
              <a:cxnLst/>
              <a:rect l="l" t="t" r="r" b="b"/>
              <a:pathLst>
                <a:path w="160654" h="259080">
                  <a:moveTo>
                    <a:pt x="160566" y="80010"/>
                  </a:moveTo>
                  <a:lnTo>
                    <a:pt x="148022" y="126595"/>
                  </a:lnTo>
                  <a:lnTo>
                    <a:pt x="120427" y="185991"/>
                  </a:lnTo>
                  <a:lnTo>
                    <a:pt x="92832" y="237101"/>
                  </a:lnTo>
                  <a:lnTo>
                    <a:pt x="80289" y="258825"/>
                  </a:lnTo>
                  <a:lnTo>
                    <a:pt x="67744" y="237101"/>
                  </a:lnTo>
                  <a:lnTo>
                    <a:pt x="40144" y="185991"/>
                  </a:lnTo>
                  <a:lnTo>
                    <a:pt x="12545" y="126595"/>
                  </a:lnTo>
                  <a:lnTo>
                    <a:pt x="0" y="80010"/>
                  </a:lnTo>
                  <a:lnTo>
                    <a:pt x="6312" y="48863"/>
                  </a:lnTo>
                  <a:lnTo>
                    <a:pt x="23523" y="23431"/>
                  </a:lnTo>
                  <a:lnTo>
                    <a:pt x="49045" y="6286"/>
                  </a:lnTo>
                  <a:lnTo>
                    <a:pt x="80289" y="0"/>
                  </a:lnTo>
                  <a:lnTo>
                    <a:pt x="111526" y="6286"/>
                  </a:lnTo>
                  <a:lnTo>
                    <a:pt x="137044" y="23431"/>
                  </a:lnTo>
                  <a:lnTo>
                    <a:pt x="154254" y="48863"/>
                  </a:lnTo>
                  <a:lnTo>
                    <a:pt x="160566" y="80010"/>
                  </a:lnTo>
                  <a:close/>
                </a:path>
              </a:pathLst>
            </a:custGeom>
            <a:ln w="12192">
              <a:solidFill>
                <a:srgbClr val="006FCE"/>
              </a:solidFill>
            </a:ln>
          </p:spPr>
          <p:txBody>
            <a:bodyPr wrap="square" lIns="0" tIns="0" rIns="0" bIns="0" rtlCol="0"/>
            <a:lstStyle/>
            <a:p>
              <a:pPr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sz="1800" kern="0">
                <a:solidFill>
                  <a:sysClr val="windowText" lastClr="000000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27" name="object 41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490372" y="659764"/>
              <a:ext cx="79120" cy="80264"/>
            </a:xfrm>
            <a:prstGeom prst="rect">
              <a:avLst/>
            </a:prstGeom>
          </p:spPr>
        </p:pic>
        <p:sp>
          <p:nvSpPr>
            <p:cNvPr id="28" name="object 42"/>
            <p:cNvSpPr/>
            <p:nvPr/>
          </p:nvSpPr>
          <p:spPr>
            <a:xfrm>
              <a:off x="601497" y="898651"/>
              <a:ext cx="20955" cy="71120"/>
            </a:xfrm>
            <a:custGeom>
              <a:avLst/>
              <a:gdLst/>
              <a:ahLst/>
              <a:cxnLst/>
              <a:rect l="l" t="t" r="r" b="b"/>
              <a:pathLst>
                <a:path w="20954" h="71119">
                  <a:moveTo>
                    <a:pt x="0" y="0"/>
                  </a:moveTo>
                  <a:lnTo>
                    <a:pt x="20472" y="70865"/>
                  </a:lnTo>
                </a:path>
              </a:pathLst>
            </a:custGeom>
            <a:ln w="12192">
              <a:solidFill>
                <a:srgbClr val="006FCE"/>
              </a:solidFill>
            </a:ln>
          </p:spPr>
          <p:txBody>
            <a:bodyPr wrap="square" lIns="0" tIns="0" rIns="0" bIns="0" rtlCol="0"/>
            <a:lstStyle/>
            <a:p>
              <a:pPr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sz="1800" kern="0">
                <a:solidFill>
                  <a:sysClr val="windowText" lastClr="000000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29" name="object 43"/>
          <p:cNvSpPr txBox="1">
            <a:spLocks/>
          </p:cNvSpPr>
          <p:nvPr/>
        </p:nvSpPr>
        <p:spPr bwMode="auto">
          <a:xfrm>
            <a:off x="719847" y="1382659"/>
            <a:ext cx="2330923" cy="3827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13329" rIns="0" bIns="0" numCol="1" rtlCol="0" anchor="t" anchorCtr="0" compatLnSpc="1">
            <a:prstTxWarp prst="textNoShape">
              <a:avLst/>
            </a:prstTxWarp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5pPr>
            <a:lvl6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6pPr>
            <a:lvl7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7pPr>
            <a:lvl8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8pPr>
            <a:lvl9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9pPr>
          </a:lstStyle>
          <a:p>
            <a:pPr marL="12694" algn="l" defTabSz="913936">
              <a:spcBef>
                <a:spcPts val="105"/>
              </a:spcBef>
            </a:pPr>
            <a:r>
              <a:rPr lang="ru-RU" sz="2400" b="1" kern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1,2 </a:t>
            </a:r>
            <a:r>
              <a:rPr lang="kk-KZ" sz="2000" b="1" kern="0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ң</a:t>
            </a:r>
            <a:r>
              <a:rPr lang="kk-KZ" sz="2400" b="1" kern="0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kk-KZ" sz="1800" b="1" kern="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ірек</a:t>
            </a:r>
            <a:endParaRPr lang="kk-KZ" sz="1800" b="1" kern="0" dirty="0">
              <a:solidFill>
                <a:schemeClr val="tx2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object 44"/>
          <p:cNvSpPr/>
          <p:nvPr/>
        </p:nvSpPr>
        <p:spPr>
          <a:xfrm>
            <a:off x="130850" y="2394914"/>
            <a:ext cx="471170" cy="405765"/>
          </a:xfrm>
          <a:custGeom>
            <a:avLst/>
            <a:gdLst/>
            <a:ahLst/>
            <a:cxnLst/>
            <a:rect l="l" t="t" r="r" b="b"/>
            <a:pathLst>
              <a:path w="471170" h="405764">
                <a:moveTo>
                  <a:pt x="470916" y="275844"/>
                </a:moveTo>
                <a:lnTo>
                  <a:pt x="0" y="275844"/>
                </a:lnTo>
              </a:path>
              <a:path w="471170" h="405764">
                <a:moveTo>
                  <a:pt x="205740" y="275844"/>
                </a:moveTo>
                <a:lnTo>
                  <a:pt x="205740" y="158369"/>
                </a:lnTo>
                <a:lnTo>
                  <a:pt x="265176" y="89915"/>
                </a:lnTo>
              </a:path>
              <a:path w="471170" h="405764">
                <a:moveTo>
                  <a:pt x="28955" y="275844"/>
                </a:moveTo>
                <a:lnTo>
                  <a:pt x="28955" y="158369"/>
                </a:lnTo>
                <a:lnTo>
                  <a:pt x="88798" y="89915"/>
                </a:lnTo>
                <a:lnTo>
                  <a:pt x="265658" y="89915"/>
                </a:lnTo>
                <a:lnTo>
                  <a:pt x="324612" y="158369"/>
                </a:lnTo>
                <a:lnTo>
                  <a:pt x="324612" y="275844"/>
                </a:lnTo>
              </a:path>
              <a:path w="471170" h="405764">
                <a:moveTo>
                  <a:pt x="28955" y="158495"/>
                </a:moveTo>
                <a:lnTo>
                  <a:pt x="205740" y="158495"/>
                </a:lnTo>
              </a:path>
              <a:path w="471170" h="405764">
                <a:moveTo>
                  <a:pt x="156972" y="198119"/>
                </a:moveTo>
                <a:lnTo>
                  <a:pt x="156972" y="237744"/>
                </a:lnTo>
              </a:path>
              <a:path w="471170" h="405764">
                <a:moveTo>
                  <a:pt x="265176" y="149351"/>
                </a:moveTo>
                <a:lnTo>
                  <a:pt x="265176" y="178307"/>
                </a:lnTo>
              </a:path>
              <a:path w="471170" h="405764">
                <a:moveTo>
                  <a:pt x="284988" y="275844"/>
                </a:moveTo>
                <a:lnTo>
                  <a:pt x="284988" y="207263"/>
                </a:lnTo>
                <a:lnTo>
                  <a:pt x="245363" y="207263"/>
                </a:lnTo>
                <a:lnTo>
                  <a:pt x="245363" y="275844"/>
                </a:lnTo>
              </a:path>
              <a:path w="471170" h="405764">
                <a:moveTo>
                  <a:pt x="79247" y="198119"/>
                </a:moveTo>
                <a:lnTo>
                  <a:pt x="79247" y="237744"/>
                </a:lnTo>
              </a:path>
              <a:path w="471170" h="405764">
                <a:moveTo>
                  <a:pt x="118872" y="198119"/>
                </a:moveTo>
                <a:lnTo>
                  <a:pt x="118872" y="237744"/>
                </a:lnTo>
              </a:path>
              <a:path w="471170" h="405764">
                <a:moveTo>
                  <a:pt x="393191" y="405383"/>
                </a:moveTo>
                <a:lnTo>
                  <a:pt x="383230" y="354657"/>
                </a:lnTo>
                <a:lnTo>
                  <a:pt x="355958" y="313515"/>
                </a:lnTo>
                <a:lnTo>
                  <a:pt x="315300" y="285922"/>
                </a:lnTo>
                <a:lnTo>
                  <a:pt x="265176" y="275844"/>
                </a:lnTo>
              </a:path>
              <a:path w="471170" h="405764">
                <a:moveTo>
                  <a:pt x="324612" y="405383"/>
                </a:moveTo>
                <a:lnTo>
                  <a:pt x="314650" y="354657"/>
                </a:lnTo>
                <a:lnTo>
                  <a:pt x="287378" y="313515"/>
                </a:lnTo>
                <a:lnTo>
                  <a:pt x="246720" y="285922"/>
                </a:lnTo>
                <a:lnTo>
                  <a:pt x="196596" y="275844"/>
                </a:lnTo>
              </a:path>
              <a:path w="471170" h="405764">
                <a:moveTo>
                  <a:pt x="256032" y="405383"/>
                </a:moveTo>
                <a:lnTo>
                  <a:pt x="246070" y="354657"/>
                </a:lnTo>
                <a:lnTo>
                  <a:pt x="218798" y="313515"/>
                </a:lnTo>
                <a:lnTo>
                  <a:pt x="178140" y="285922"/>
                </a:lnTo>
                <a:lnTo>
                  <a:pt x="128015" y="275844"/>
                </a:lnTo>
              </a:path>
              <a:path w="471170" h="405764">
                <a:moveTo>
                  <a:pt x="187451" y="405383"/>
                </a:moveTo>
                <a:lnTo>
                  <a:pt x="177490" y="354657"/>
                </a:lnTo>
                <a:lnTo>
                  <a:pt x="150218" y="313515"/>
                </a:lnTo>
                <a:lnTo>
                  <a:pt x="109560" y="285922"/>
                </a:lnTo>
                <a:lnTo>
                  <a:pt x="59436" y="275844"/>
                </a:lnTo>
              </a:path>
              <a:path w="471170" h="405764">
                <a:moveTo>
                  <a:pt x="0" y="275844"/>
                </a:moveTo>
                <a:lnTo>
                  <a:pt x="46782" y="288708"/>
                </a:lnTo>
                <a:lnTo>
                  <a:pt x="84510" y="317230"/>
                </a:lnTo>
                <a:lnTo>
                  <a:pt x="109701" y="357443"/>
                </a:lnTo>
                <a:lnTo>
                  <a:pt x="118872" y="405383"/>
                </a:lnTo>
              </a:path>
              <a:path w="471170" h="405764">
                <a:moveTo>
                  <a:pt x="0" y="304800"/>
                </a:moveTo>
                <a:lnTo>
                  <a:pt x="20588" y="324998"/>
                </a:lnTo>
                <a:lnTo>
                  <a:pt x="36461" y="348662"/>
                </a:lnTo>
                <a:lnTo>
                  <a:pt x="46677" y="375540"/>
                </a:lnTo>
                <a:lnTo>
                  <a:pt x="50292" y="405383"/>
                </a:lnTo>
              </a:path>
              <a:path w="471170" h="405764">
                <a:moveTo>
                  <a:pt x="413003" y="275844"/>
                </a:moveTo>
                <a:lnTo>
                  <a:pt x="413003" y="89915"/>
                </a:lnTo>
              </a:path>
              <a:path w="471170" h="405764">
                <a:moveTo>
                  <a:pt x="362712" y="49402"/>
                </a:moveTo>
                <a:lnTo>
                  <a:pt x="366620" y="30218"/>
                </a:lnTo>
                <a:lnTo>
                  <a:pt x="377261" y="14509"/>
                </a:lnTo>
                <a:lnTo>
                  <a:pt x="393010" y="3897"/>
                </a:lnTo>
                <a:lnTo>
                  <a:pt x="412241" y="0"/>
                </a:lnTo>
                <a:lnTo>
                  <a:pt x="431473" y="3897"/>
                </a:lnTo>
                <a:lnTo>
                  <a:pt x="447222" y="14509"/>
                </a:lnTo>
                <a:lnTo>
                  <a:pt x="457863" y="30218"/>
                </a:lnTo>
                <a:lnTo>
                  <a:pt x="461772" y="49402"/>
                </a:lnTo>
                <a:lnTo>
                  <a:pt x="461772" y="112105"/>
                </a:lnTo>
                <a:lnTo>
                  <a:pt x="461772" y="144303"/>
                </a:lnTo>
                <a:lnTo>
                  <a:pt x="461772" y="156166"/>
                </a:lnTo>
                <a:lnTo>
                  <a:pt x="461772" y="157860"/>
                </a:lnTo>
                <a:lnTo>
                  <a:pt x="457863" y="177045"/>
                </a:lnTo>
                <a:lnTo>
                  <a:pt x="447222" y="192754"/>
                </a:lnTo>
                <a:lnTo>
                  <a:pt x="431473" y="203366"/>
                </a:lnTo>
                <a:lnTo>
                  <a:pt x="412241" y="207263"/>
                </a:lnTo>
                <a:lnTo>
                  <a:pt x="393010" y="203366"/>
                </a:lnTo>
                <a:lnTo>
                  <a:pt x="377261" y="192754"/>
                </a:lnTo>
                <a:lnTo>
                  <a:pt x="366620" y="177045"/>
                </a:lnTo>
                <a:lnTo>
                  <a:pt x="362712" y="157860"/>
                </a:lnTo>
                <a:lnTo>
                  <a:pt x="362712" y="49402"/>
                </a:lnTo>
                <a:close/>
              </a:path>
              <a:path w="471170" h="405764">
                <a:moveTo>
                  <a:pt x="353568" y="316991"/>
                </a:moveTo>
                <a:lnTo>
                  <a:pt x="470916" y="316991"/>
                </a:lnTo>
              </a:path>
              <a:path w="471170" h="405764">
                <a:moveTo>
                  <a:pt x="382524" y="355091"/>
                </a:moveTo>
                <a:lnTo>
                  <a:pt x="470916" y="355091"/>
                </a:lnTo>
              </a:path>
              <a:path w="471170" h="405764">
                <a:moveTo>
                  <a:pt x="393191" y="394715"/>
                </a:moveTo>
                <a:lnTo>
                  <a:pt x="470916" y="394715"/>
                </a:lnTo>
              </a:path>
            </a:pathLst>
          </a:custGeom>
          <a:ln w="12192">
            <a:solidFill>
              <a:srgbClr val="006FCE"/>
            </a:solidFill>
          </a:ln>
        </p:spPr>
        <p:txBody>
          <a:bodyPr wrap="square" lIns="0" tIns="0" rIns="0" bIns="0" rtlCol="0"/>
          <a:lstStyle/>
          <a:p>
            <a:pPr defTabSz="91393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sz="1800" kern="0">
              <a:solidFill>
                <a:sysClr val="windowText" lastClr="000000"/>
              </a:solidFill>
              <a:cs typeface="Arial" panose="020B0604020202020204" pitchFamily="34" charset="0"/>
            </a:endParaRPr>
          </a:p>
        </p:txBody>
      </p:sp>
      <p:sp>
        <p:nvSpPr>
          <p:cNvPr id="31" name="object 45"/>
          <p:cNvSpPr txBox="1"/>
          <p:nvPr/>
        </p:nvSpPr>
        <p:spPr>
          <a:xfrm>
            <a:off x="665017" y="2464589"/>
            <a:ext cx="2912372" cy="382791"/>
          </a:xfrm>
          <a:prstGeom prst="rect">
            <a:avLst/>
          </a:prstGeom>
        </p:spPr>
        <p:txBody>
          <a:bodyPr vert="horz" wrap="square" lIns="0" tIns="13329" rIns="0" bIns="0" rtlCol="0">
            <a:spAutoFit/>
          </a:bodyPr>
          <a:lstStyle/>
          <a:p>
            <a:pPr marL="12694" defTabSz="913936" eaLnBrk="1" fontAlgn="auto" hangingPunct="1">
              <a:spcBef>
                <a:spcPts val="105"/>
              </a:spcBef>
              <a:spcAft>
                <a:spcPts val="0"/>
              </a:spcAft>
              <a:defRPr/>
            </a:pPr>
            <a:r>
              <a:rPr lang="ru-RU" sz="2400" b="1" kern="0" dirty="0" smtClean="0">
                <a:solidFill>
                  <a:srgbClr val="00B050"/>
                </a:solidFill>
                <a:cs typeface="Arial" panose="020B0604020202020204" pitchFamily="34" charset="0"/>
              </a:rPr>
              <a:t>   2,3 </a:t>
            </a:r>
            <a:r>
              <a:rPr lang="kk-KZ" sz="2000" b="1" kern="0" dirty="0" smtClean="0">
                <a:solidFill>
                  <a:srgbClr val="00B050"/>
                </a:solidFill>
                <a:cs typeface="Arial" panose="020B0604020202020204" pitchFamily="34" charset="0"/>
              </a:rPr>
              <a:t>мың</a:t>
            </a:r>
            <a:r>
              <a:rPr lang="kk-KZ" sz="2400" b="1" kern="0" dirty="0" smtClean="0">
                <a:solidFill>
                  <a:srgbClr val="00B050"/>
                </a:solidFill>
                <a:cs typeface="Arial" panose="020B0604020202020204" pitchFamily="34" charset="0"/>
              </a:rPr>
              <a:t> </a:t>
            </a:r>
            <a:r>
              <a:rPr lang="kk-KZ" sz="1800" b="1" kern="0" dirty="0" smtClean="0">
                <a:solidFill>
                  <a:schemeClr val="tx2">
                    <a:lumMod val="60000"/>
                    <a:lumOff val="40000"/>
                  </a:schemeClr>
                </a:solidFill>
                <a:cs typeface="Arial" panose="020B0604020202020204" pitchFamily="34" charset="0"/>
              </a:rPr>
              <a:t>спутниктік</a:t>
            </a:r>
            <a:endParaRPr lang="kk-KZ" sz="1800" b="1" kern="0" dirty="0">
              <a:solidFill>
                <a:schemeClr val="tx2">
                  <a:lumMod val="60000"/>
                  <a:lumOff val="4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34" name="object 49"/>
          <p:cNvSpPr/>
          <p:nvPr/>
        </p:nvSpPr>
        <p:spPr>
          <a:xfrm>
            <a:off x="7193033" y="2071116"/>
            <a:ext cx="299720" cy="335280"/>
          </a:xfrm>
          <a:custGeom>
            <a:avLst/>
            <a:gdLst/>
            <a:ahLst/>
            <a:cxnLst/>
            <a:rect l="l" t="t" r="r" b="b"/>
            <a:pathLst>
              <a:path w="299720" h="335280">
                <a:moveTo>
                  <a:pt x="118903" y="335279"/>
                </a:moveTo>
                <a:lnTo>
                  <a:pt x="54292" y="270375"/>
                </a:lnTo>
                <a:lnTo>
                  <a:pt x="21113" y="237045"/>
                </a:lnTo>
                <a:lnTo>
                  <a:pt x="8889" y="224766"/>
                </a:lnTo>
                <a:lnTo>
                  <a:pt x="7143" y="223011"/>
                </a:lnTo>
                <a:lnTo>
                  <a:pt x="1785" y="213544"/>
                </a:lnTo>
                <a:lnTo>
                  <a:pt x="0" y="202898"/>
                </a:lnTo>
                <a:lnTo>
                  <a:pt x="1785" y="192276"/>
                </a:lnTo>
                <a:lnTo>
                  <a:pt x="7143" y="182879"/>
                </a:lnTo>
                <a:lnTo>
                  <a:pt x="10445" y="179704"/>
                </a:lnTo>
                <a:lnTo>
                  <a:pt x="19819" y="173347"/>
                </a:lnTo>
                <a:lnTo>
                  <a:pt x="30384" y="171227"/>
                </a:lnTo>
                <a:lnTo>
                  <a:pt x="79839" y="209367"/>
                </a:lnTo>
                <a:lnTo>
                  <a:pt x="100580" y="230211"/>
                </a:lnTo>
                <a:lnTo>
                  <a:pt x="101377" y="231012"/>
                </a:lnTo>
                <a:lnTo>
                  <a:pt x="101377" y="27304"/>
                </a:lnTo>
                <a:lnTo>
                  <a:pt x="103374" y="16234"/>
                </a:lnTo>
                <a:lnTo>
                  <a:pt x="108965" y="7604"/>
                </a:lnTo>
                <a:lnTo>
                  <a:pt x="117558" y="1998"/>
                </a:lnTo>
                <a:lnTo>
                  <a:pt x="128555" y="0"/>
                </a:lnTo>
                <a:lnTo>
                  <a:pt x="130079" y="0"/>
                </a:lnTo>
                <a:lnTo>
                  <a:pt x="141335" y="1998"/>
                </a:lnTo>
                <a:lnTo>
                  <a:pt x="150495" y="7604"/>
                </a:lnTo>
                <a:lnTo>
                  <a:pt x="156654" y="16234"/>
                </a:lnTo>
                <a:lnTo>
                  <a:pt x="158908" y="27304"/>
                </a:lnTo>
                <a:lnTo>
                  <a:pt x="158908" y="87584"/>
                </a:lnTo>
                <a:lnTo>
                  <a:pt x="158908" y="118538"/>
                </a:lnTo>
                <a:lnTo>
                  <a:pt x="158908" y="129942"/>
                </a:lnTo>
                <a:lnTo>
                  <a:pt x="158908" y="131571"/>
                </a:lnTo>
                <a:lnTo>
                  <a:pt x="220729" y="141777"/>
                </a:lnTo>
                <a:lnTo>
                  <a:pt x="252475" y="147018"/>
                </a:lnTo>
                <a:lnTo>
                  <a:pt x="264171" y="148949"/>
                </a:lnTo>
                <a:lnTo>
                  <a:pt x="265842" y="149225"/>
                </a:lnTo>
                <a:lnTo>
                  <a:pt x="271081" y="151177"/>
                </a:lnTo>
                <a:lnTo>
                  <a:pt x="282606" y="158845"/>
                </a:lnTo>
                <a:lnTo>
                  <a:pt x="294132" y="174942"/>
                </a:lnTo>
                <a:lnTo>
                  <a:pt x="299370" y="202183"/>
                </a:lnTo>
                <a:lnTo>
                  <a:pt x="293864" y="276340"/>
                </a:lnTo>
                <a:lnTo>
                  <a:pt x="291036" y="314420"/>
                </a:lnTo>
                <a:lnTo>
                  <a:pt x="289994" y="328449"/>
                </a:lnTo>
                <a:lnTo>
                  <a:pt x="289845" y="330453"/>
                </a:lnTo>
              </a:path>
            </a:pathLst>
          </a:custGeom>
          <a:ln w="9143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defTabSz="91393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sz="1800" kern="0">
              <a:solidFill>
                <a:sysClr val="windowText" lastClr="000000"/>
              </a:solidFill>
            </a:endParaRPr>
          </a:p>
        </p:txBody>
      </p:sp>
      <p:sp>
        <p:nvSpPr>
          <p:cNvPr id="36" name="object 43"/>
          <p:cNvSpPr txBox="1">
            <a:spLocks/>
          </p:cNvSpPr>
          <p:nvPr/>
        </p:nvSpPr>
        <p:spPr>
          <a:xfrm>
            <a:off x="118654" y="571066"/>
            <a:ext cx="3215765" cy="721345"/>
          </a:xfrm>
          <a:prstGeom prst="rect">
            <a:avLst/>
          </a:prstGeom>
        </p:spPr>
        <p:txBody>
          <a:bodyPr vert="horz" wrap="square" lIns="0" tIns="13329" rIns="0" bIns="0" rtlCol="0">
            <a:spAutoFit/>
          </a:bodyPr>
          <a:lstStyle>
            <a:lvl1pPr>
              <a:defRPr sz="1600" b="0" i="0">
                <a:solidFill>
                  <a:schemeClr val="tx1"/>
                </a:solidFill>
                <a:latin typeface="Segoe UI Light"/>
                <a:ea typeface="+mj-ea"/>
                <a:cs typeface="Segoe UI Light"/>
              </a:defRPr>
            </a:lvl1pPr>
          </a:lstStyle>
          <a:p>
            <a:pPr marL="12694" defTabSz="913936" eaLnBrk="1" fontAlgn="auto" hangingPunct="1">
              <a:spcBef>
                <a:spcPts val="105"/>
              </a:spcBef>
              <a:spcAft>
                <a:spcPts val="0"/>
              </a:spcAft>
            </a:pPr>
            <a:r>
              <a:rPr lang="kk-KZ" sz="1800" b="1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барлығы </a:t>
            </a:r>
            <a:r>
              <a:rPr lang="kk-KZ" sz="2800" b="1" kern="0" dirty="0" smtClean="0">
                <a:solidFill>
                  <a:srgbClr val="00CC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,5</a:t>
            </a:r>
            <a:r>
              <a:rPr lang="kk-KZ" sz="1800" b="1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мың ауыл, оның ішінде:</a:t>
            </a:r>
            <a:endParaRPr lang="kk-KZ" sz="18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7" name="Straight Connector 32"/>
          <p:cNvCxnSpPr/>
          <p:nvPr/>
        </p:nvCxnSpPr>
        <p:spPr>
          <a:xfrm>
            <a:off x="0" y="615950"/>
            <a:ext cx="9144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7" name="Группа 46"/>
          <p:cNvGrpSpPr/>
          <p:nvPr/>
        </p:nvGrpSpPr>
        <p:grpSpPr>
          <a:xfrm>
            <a:off x="6853906" y="723397"/>
            <a:ext cx="2424568" cy="827150"/>
            <a:chOff x="6877793" y="1169350"/>
            <a:chExt cx="2149475" cy="827150"/>
          </a:xfrm>
        </p:grpSpPr>
        <p:sp>
          <p:nvSpPr>
            <p:cNvPr id="10" name="object 17"/>
            <p:cNvSpPr txBox="1"/>
            <p:nvPr/>
          </p:nvSpPr>
          <p:spPr>
            <a:xfrm>
              <a:off x="6877793" y="1169350"/>
              <a:ext cx="2149475" cy="827150"/>
            </a:xfrm>
            <a:prstGeom prst="rect">
              <a:avLst/>
            </a:prstGeom>
          </p:spPr>
          <p:txBody>
            <a:bodyPr vert="horz" wrap="square" lIns="0" tIns="59690" rIns="0" bIns="0" rtlCol="0">
              <a:spAutoFit/>
            </a:bodyPr>
            <a:lstStyle/>
            <a:p>
              <a:pPr marL="12694" defTabSz="913936" eaLnBrk="1" fontAlgn="auto" hangingPunct="1">
                <a:spcBef>
                  <a:spcPts val="470"/>
                </a:spcBef>
                <a:spcAft>
                  <a:spcPts val="0"/>
                </a:spcAft>
                <a:tabLst>
                  <a:tab pos="2122997" algn="l"/>
                </a:tabLst>
                <a:defRPr/>
              </a:pPr>
              <a:r>
                <a:rPr lang="ru-RU" sz="1100" u="sng" kern="0" spc="10" dirty="0" err="1">
                  <a:solidFill>
                    <a:srgbClr val="006FCE"/>
                  </a:solidFill>
                  <a:uFill>
                    <a:solidFill>
                      <a:srgbClr val="808080"/>
                    </a:solidFill>
                  </a:uFill>
                  <a:cs typeface="Arial" panose="020B0604020202020204" pitchFamily="34" charset="0"/>
                </a:rPr>
                <a:t>Сызықтар</a:t>
              </a:r>
              <a:r>
                <a:rPr lang="ru-RU" sz="1100" u="sng" kern="0" spc="10" dirty="0">
                  <a:solidFill>
                    <a:srgbClr val="006FCE"/>
                  </a:solidFill>
                  <a:uFill>
                    <a:solidFill>
                      <a:srgbClr val="808080"/>
                    </a:solidFill>
                  </a:uFill>
                  <a:cs typeface="Arial" panose="020B0604020202020204" pitchFamily="34" charset="0"/>
                </a:rPr>
                <a:t> </a:t>
              </a:r>
              <a:r>
                <a:rPr lang="ru-RU" sz="1100" u="sng" kern="0" spc="10" dirty="0" err="1">
                  <a:solidFill>
                    <a:srgbClr val="006FCE"/>
                  </a:solidFill>
                  <a:uFill>
                    <a:solidFill>
                      <a:srgbClr val="808080"/>
                    </a:solidFill>
                  </a:uFill>
                  <a:cs typeface="Arial" panose="020B0604020202020204" pitchFamily="34" charset="0"/>
                </a:rPr>
                <a:t>түрлері</a:t>
              </a:r>
              <a:r>
                <a:rPr lang="ru-RU" sz="1100" u="sng" kern="0" spc="10" dirty="0">
                  <a:solidFill>
                    <a:srgbClr val="006FCE"/>
                  </a:solidFill>
                  <a:uFill>
                    <a:solidFill>
                      <a:srgbClr val="808080"/>
                    </a:solidFill>
                  </a:uFill>
                  <a:cs typeface="Arial" panose="020B0604020202020204" pitchFamily="34" charset="0"/>
                </a:rPr>
                <a:t> </a:t>
              </a:r>
              <a:r>
                <a:rPr sz="1100" u="sng" kern="0" dirty="0">
                  <a:solidFill>
                    <a:srgbClr val="006FCE"/>
                  </a:solidFill>
                  <a:uFill>
                    <a:solidFill>
                      <a:srgbClr val="808080"/>
                    </a:solidFill>
                  </a:uFill>
                  <a:cs typeface="Arial" panose="020B0604020202020204" pitchFamily="34" charset="0"/>
                </a:rPr>
                <a:t>	</a:t>
              </a:r>
              <a:endParaRPr sz="1100" kern="0" dirty="0">
                <a:solidFill>
                  <a:sysClr val="windowText" lastClr="000000"/>
                </a:solidFill>
                <a:cs typeface="Arial" panose="020B0604020202020204" pitchFamily="34" charset="0"/>
              </a:endParaRPr>
            </a:p>
            <a:p>
              <a:pPr marL="252601" defTabSz="913936" eaLnBrk="1" fontAlgn="auto" hangingPunct="1">
                <a:spcBef>
                  <a:spcPts val="375"/>
                </a:spcBef>
                <a:spcAft>
                  <a:spcPts val="0"/>
                </a:spcAft>
                <a:defRPr/>
              </a:pPr>
              <a:r>
                <a:rPr sz="1100" kern="0" spc="-5" dirty="0">
                  <a:solidFill>
                    <a:sysClr val="windowText" lastClr="000000"/>
                  </a:solidFill>
                  <a:cs typeface="Arial" panose="020B0604020202020204" pitchFamily="34" charset="0"/>
                </a:rPr>
                <a:t>Ж/д</a:t>
              </a:r>
            </a:p>
            <a:p>
              <a:pPr marL="252601" defTabSz="913936" eaLnBrk="1" fontAlgn="auto" hangingPunct="1">
                <a:spcBef>
                  <a:spcPts val="275"/>
                </a:spcBef>
                <a:spcAft>
                  <a:spcPts val="0"/>
                </a:spcAft>
                <a:defRPr/>
              </a:pPr>
              <a:r>
                <a:rPr lang="kk-KZ" sz="1100" kern="0" dirty="0" smtClean="0">
                  <a:solidFill>
                    <a:sysClr val="windowText" lastClr="000000"/>
                  </a:solidFill>
                  <a:cs typeface="Arial" panose="020B0604020202020204" pitchFamily="34" charset="0"/>
                </a:rPr>
                <a:t>Туристік объектілердің аймақтары</a:t>
              </a:r>
              <a:endParaRPr lang="kk-KZ" sz="1100" kern="0" dirty="0">
                <a:solidFill>
                  <a:sysClr val="windowText" lastClr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46" name="Группа 45"/>
            <p:cNvGrpSpPr/>
            <p:nvPr/>
          </p:nvGrpSpPr>
          <p:grpSpPr>
            <a:xfrm>
              <a:off x="6927390" y="1503710"/>
              <a:ext cx="161925" cy="94615"/>
              <a:chOff x="6927390" y="1503710"/>
              <a:chExt cx="161925" cy="94615"/>
            </a:xfrm>
          </p:grpSpPr>
          <p:sp>
            <p:nvSpPr>
              <p:cNvPr id="40" name="object 13"/>
              <p:cNvSpPr/>
              <p:nvPr/>
            </p:nvSpPr>
            <p:spPr>
              <a:xfrm>
                <a:off x="6951838" y="1503710"/>
                <a:ext cx="113030" cy="94615"/>
              </a:xfrm>
              <a:custGeom>
                <a:avLst/>
                <a:gdLst/>
                <a:ahLst/>
                <a:cxnLst/>
                <a:rect l="l" t="t" r="r" b="b"/>
                <a:pathLst>
                  <a:path w="113029" h="94615">
                    <a:moveTo>
                      <a:pt x="0" y="0"/>
                    </a:moveTo>
                    <a:lnTo>
                      <a:pt x="0" y="94234"/>
                    </a:lnTo>
                  </a:path>
                  <a:path w="113029" h="94615">
                    <a:moveTo>
                      <a:pt x="38100" y="0"/>
                    </a:moveTo>
                    <a:lnTo>
                      <a:pt x="38100" y="94234"/>
                    </a:lnTo>
                  </a:path>
                  <a:path w="113029" h="94615">
                    <a:moveTo>
                      <a:pt x="74675" y="0"/>
                    </a:moveTo>
                    <a:lnTo>
                      <a:pt x="74675" y="94234"/>
                    </a:lnTo>
                  </a:path>
                  <a:path w="113029" h="94615">
                    <a:moveTo>
                      <a:pt x="112775" y="0"/>
                    </a:moveTo>
                    <a:lnTo>
                      <a:pt x="112775" y="94234"/>
                    </a:lnTo>
                  </a:path>
                </a:pathLst>
              </a:custGeom>
              <a:ln w="6096">
                <a:solidFill>
                  <a:srgbClr val="808080"/>
                </a:solidFill>
              </a:ln>
            </p:spPr>
            <p:txBody>
              <a:bodyPr wrap="square" lIns="0" tIns="0" rIns="0" bIns="0" rtlCol="0"/>
              <a:lstStyle/>
              <a:p>
                <a:pPr defTabSz="913936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sz="1800" kern="0">
                  <a:solidFill>
                    <a:sysClr val="windowText" lastClr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41" name="object 12"/>
              <p:cNvSpPr/>
              <p:nvPr/>
            </p:nvSpPr>
            <p:spPr>
              <a:xfrm>
                <a:off x="6927390" y="1534825"/>
                <a:ext cx="161925" cy="32384"/>
              </a:xfrm>
              <a:custGeom>
                <a:avLst/>
                <a:gdLst/>
                <a:ahLst/>
                <a:cxnLst/>
                <a:rect l="l" t="t" r="r" b="b"/>
                <a:pathLst>
                  <a:path w="161925" h="32384">
                    <a:moveTo>
                      <a:pt x="0" y="32004"/>
                    </a:moveTo>
                    <a:lnTo>
                      <a:pt x="161544" y="32004"/>
                    </a:lnTo>
                  </a:path>
                  <a:path w="161925" h="32384">
                    <a:moveTo>
                      <a:pt x="0" y="0"/>
                    </a:moveTo>
                    <a:lnTo>
                      <a:pt x="161544" y="0"/>
                    </a:lnTo>
                  </a:path>
                </a:pathLst>
              </a:custGeom>
              <a:ln w="12192">
                <a:solidFill>
                  <a:srgbClr val="808080"/>
                </a:solidFill>
              </a:ln>
            </p:spPr>
            <p:txBody>
              <a:bodyPr wrap="square" lIns="0" tIns="0" rIns="0" bIns="0" rtlCol="0"/>
              <a:lstStyle/>
              <a:p>
                <a:pPr defTabSz="913936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sz="1800" kern="0">
                  <a:solidFill>
                    <a:sysClr val="windowText" lastClr="000000"/>
                  </a:solidFill>
                  <a:cs typeface="Arial" panose="020B0604020202020204" pitchFamily="34" charset="0"/>
                </a:endParaRPr>
              </a:p>
            </p:txBody>
          </p:sp>
        </p:grpSp>
        <p:pic>
          <p:nvPicPr>
            <p:cNvPr id="42" name="object 14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6939324" y="1671796"/>
              <a:ext cx="143256" cy="143255"/>
            </a:xfrm>
            <a:prstGeom prst="rect">
              <a:avLst/>
            </a:prstGeom>
          </p:spPr>
        </p:pic>
      </p:grp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0ADAB49-8A88-402F-924A-5E7EC1CB825A}"/>
              </a:ext>
            </a:extLst>
          </p:cNvPr>
          <p:cNvCxnSpPr>
            <a:cxnSpLocks/>
          </p:cNvCxnSpPr>
          <p:nvPr/>
        </p:nvCxnSpPr>
        <p:spPr>
          <a:xfrm>
            <a:off x="465634" y="2054947"/>
            <a:ext cx="2402211" cy="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653D544F-5913-4618-A7BD-9B51A7D466F5}"/>
              </a:ext>
            </a:extLst>
          </p:cNvPr>
          <p:cNvCxnSpPr>
            <a:cxnSpLocks/>
          </p:cNvCxnSpPr>
          <p:nvPr/>
        </p:nvCxnSpPr>
        <p:spPr>
          <a:xfrm>
            <a:off x="465634" y="3112368"/>
            <a:ext cx="2402211" cy="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03101409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2" descr="C:\Users\K.Nigmetov\Downloads\candidate-management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85" y="629676"/>
            <a:ext cx="831463" cy="831463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Прямоугольник 35"/>
          <p:cNvSpPr/>
          <p:nvPr/>
        </p:nvSpPr>
        <p:spPr>
          <a:xfrm>
            <a:off x="888048" y="1038412"/>
            <a:ext cx="8469237" cy="276997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fontAlgn="ctr"/>
            <a:endParaRPr lang="ru-RU" sz="1200" i="1" dirty="0">
              <a:solidFill>
                <a:srgbClr val="00206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5853309" y="2874297"/>
            <a:ext cx="3281223" cy="923328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fontAlgn="ctr"/>
            <a:r>
              <a:rPr lang="ru-RU" sz="1800" b="1" dirty="0">
                <a:solidFill>
                  <a:srgbClr val="00B05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5 159 </a:t>
            </a:r>
            <a:r>
              <a:rPr lang="ru-RU" sz="1800" dirty="0" err="1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ауылдың</a:t>
            </a:r>
            <a: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800" dirty="0" err="1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денсаулық</a:t>
            </a:r>
            <a: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800" dirty="0" err="1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сақтау</a:t>
            </a:r>
            <a: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800" dirty="0" err="1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объектілері</a:t>
            </a:r>
            <a: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бар </a:t>
            </a:r>
            <a:b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ru-RU" sz="1800" dirty="0" err="1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немесе</a:t>
            </a:r>
            <a: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82,6%)</a:t>
            </a:r>
            <a:endParaRPr lang="ru-RU" sz="1800" dirty="0">
              <a:solidFill>
                <a:srgbClr val="0070C0"/>
              </a:solidFill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42" name="Picture 6" descr="C:\Users\WW\Downloads\highway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515" y="2976696"/>
            <a:ext cx="612818" cy="5046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Прямоугольник 44"/>
          <p:cNvSpPr/>
          <p:nvPr/>
        </p:nvSpPr>
        <p:spPr>
          <a:xfrm>
            <a:off x="1039267" y="1750582"/>
            <a:ext cx="3806801" cy="954105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fontAlgn="ctr"/>
            <a:r>
              <a:rPr lang="ru-RU" sz="2000" b="1" dirty="0">
                <a:solidFill>
                  <a:srgbClr val="00B05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4 429 </a:t>
            </a:r>
            <a:r>
              <a:rPr lang="ru-RU" sz="1800" dirty="0" err="1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ауыл</a:t>
            </a:r>
            <a: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800" dirty="0" err="1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орталықтандырылған</a:t>
            </a:r>
            <a: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800" dirty="0" err="1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сумен</a:t>
            </a:r>
            <a: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800" dirty="0" err="1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жабдықтауға</a:t>
            </a:r>
            <a: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800" dirty="0" err="1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қол</a:t>
            </a:r>
            <a: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800" dirty="0" err="1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жеткізе</a:t>
            </a:r>
            <a: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800" dirty="0" err="1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алады</a:t>
            </a:r>
            <a: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(</a:t>
            </a:r>
            <a:r>
              <a:rPr lang="ru-RU" sz="1800" dirty="0" err="1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немесе</a:t>
            </a:r>
            <a: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70,4</a:t>
            </a:r>
            <a:r>
              <a:rPr lang="ru-RU" sz="1800" dirty="0" smtClean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%)</a:t>
            </a:r>
            <a:endParaRPr lang="ru-RU" sz="1800" dirty="0">
              <a:solidFill>
                <a:srgbClr val="0070C0"/>
              </a:solidFill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Заголовок 1"/>
          <p:cNvSpPr txBox="1">
            <a:spLocks/>
          </p:cNvSpPr>
          <p:nvPr/>
        </p:nvSpPr>
        <p:spPr>
          <a:xfrm>
            <a:off x="-9468" y="-8920"/>
            <a:ext cx="9144000" cy="515098"/>
          </a:xfrm>
          <a:prstGeom prst="rect">
            <a:avLst/>
          </a:prstGeom>
          <a:noFill/>
        </p:spPr>
        <p:txBody>
          <a:bodyPr anchor="ctr"/>
          <a:lstStyle>
            <a:defPPr>
              <a:defRPr lang="en-US"/>
            </a:defPPr>
            <a:lvl1pPr lvl="0" algn="ctr" defTabSz="690563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400" b="1" cap="small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latin typeface="Calibri Light" panose="020F0302020204030204" pitchFamily="34" charset="0"/>
              </a:defRPr>
            </a:lvl2pPr>
            <a:lvl3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latin typeface="Calibri Light" panose="020F0302020204030204" pitchFamily="34" charset="0"/>
              </a:defRPr>
            </a:lvl3pPr>
            <a:lvl4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latin typeface="Calibri Light" panose="020F0302020204030204" pitchFamily="34" charset="0"/>
              </a:defRPr>
            </a:lvl4pPr>
            <a:lvl5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latin typeface="Calibri Light" panose="020F0302020204030204" pitchFamily="34" charset="0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latin typeface="Calibri Light" panose="020F0302020204030204" pitchFamily="34" charset="0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latin typeface="Calibri Light" panose="020F0302020204030204" pitchFamily="34" charset="0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latin typeface="Calibri Light" panose="020F0302020204030204" pitchFamily="34" charset="0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latin typeface="Calibri Light" panose="020F0302020204030204" pitchFamily="34" charset="0"/>
              </a:defRPr>
            </a:lvl9pPr>
          </a:lstStyle>
          <a:p>
            <a:r>
              <a:rPr lang="kk-KZ" sz="19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ЫЛДЫҚ АУМАҚТАРДЫ ДАМЫТУ</a:t>
            </a:r>
          </a:p>
        </p:txBody>
      </p:sp>
      <p:sp>
        <p:nvSpPr>
          <p:cNvPr id="17" name="Номер слайда 1"/>
          <p:cNvSpPr txBox="1">
            <a:spLocks/>
          </p:cNvSpPr>
          <p:nvPr/>
        </p:nvSpPr>
        <p:spPr bwMode="auto">
          <a:xfrm>
            <a:off x="8815975" y="4820969"/>
            <a:ext cx="2133600" cy="273844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altLang="ru-RU" dirty="0">
              <a:solidFill>
                <a:srgbClr val="948A54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749659" y="599829"/>
            <a:ext cx="8469237" cy="1354215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algn="ctr" fontAlgn="ctr"/>
            <a: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2022 </a:t>
            </a:r>
            <a:r>
              <a:rPr lang="ru-RU" sz="1800" dirty="0" err="1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жылдың</a:t>
            </a:r>
            <a: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 1 </a:t>
            </a:r>
            <a:r>
              <a:rPr lang="ru-RU" sz="1800" dirty="0" err="1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қаңтарына</a:t>
            </a:r>
            <a: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800" dirty="0" err="1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халық</a:t>
            </a:r>
            <a: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 саны </a:t>
            </a:r>
            <a:r>
              <a:rPr lang="ru-RU" sz="2000" b="1" dirty="0">
                <a:solidFill>
                  <a:srgbClr val="00B050"/>
                </a:solidFill>
                <a:ea typeface="Tahoma" panose="020B0604030504040204" pitchFamily="34" charset="0"/>
                <a:cs typeface="Arial" panose="020B0604020202020204" pitchFamily="34" charset="0"/>
              </a:rPr>
              <a:t>7 769,8 </a:t>
            </a:r>
            <a:r>
              <a:rPr lang="ru-RU" sz="1800" dirty="0" err="1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мың</a:t>
            </a:r>
            <a: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800" dirty="0" err="1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адамды</a:t>
            </a:r>
            <a: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800" dirty="0" err="1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құрайтын</a:t>
            </a:r>
            <a: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/>
            </a:r>
            <a:b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</a:br>
            <a: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>
                <a:solidFill>
                  <a:srgbClr val="00B050"/>
                </a:solidFill>
                <a:ea typeface="Tahoma" panose="020B0604030504040204" pitchFamily="34" charset="0"/>
                <a:cs typeface="Arial" panose="020B0604020202020204" pitchFamily="34" charset="0"/>
              </a:rPr>
              <a:t>6 293 </a:t>
            </a:r>
            <a:r>
              <a:rPr lang="ru-RU" sz="1800" dirty="0" err="1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ауылдық</a:t>
            </a:r>
            <a: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800" dirty="0" err="1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елді</a:t>
            </a:r>
            <a: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800" dirty="0" err="1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мекен</a:t>
            </a:r>
            <a: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 бар</a:t>
            </a:r>
            <a:endParaRPr lang="ru-RU" sz="1200" i="1" dirty="0">
              <a:solidFill>
                <a:srgbClr val="00206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 fontAlgn="ctr"/>
            <a:r>
              <a:rPr lang="ru-RU" sz="1800" b="1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ru-RU" sz="1800" b="1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</a:br>
            <a:endParaRPr lang="ru-RU" sz="1200" i="1" dirty="0" smtClean="0">
              <a:solidFill>
                <a:srgbClr val="00206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fontAlgn="ctr"/>
            <a:endParaRPr lang="ru-RU" sz="1200" i="1" dirty="0">
              <a:solidFill>
                <a:srgbClr val="00206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0057" y="4123847"/>
            <a:ext cx="586482" cy="586482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478" y="1879219"/>
            <a:ext cx="640595" cy="509207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>
            <a:off x="5758474" y="1764654"/>
            <a:ext cx="3252524" cy="923328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fontAlgn="ctr"/>
            <a:r>
              <a:rPr lang="ru-RU" sz="1800" b="1" dirty="0">
                <a:solidFill>
                  <a:srgbClr val="00B05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4 553 </a:t>
            </a:r>
            <a:r>
              <a:rPr lang="ru-RU" sz="1800" dirty="0" err="1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ауылдың</a:t>
            </a:r>
            <a: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800" dirty="0" err="1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білім</a:t>
            </a:r>
            <a: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беру </a:t>
            </a:r>
            <a:r>
              <a:rPr lang="ru-RU" sz="1800" dirty="0" err="1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объектілері</a:t>
            </a:r>
            <a: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бар </a:t>
            </a:r>
            <a:b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ru-RU" sz="1800" dirty="0" err="1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немесе</a:t>
            </a:r>
            <a: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72,4%)</a:t>
            </a:r>
            <a:endParaRPr lang="en-US" sz="1800" dirty="0">
              <a:solidFill>
                <a:srgbClr val="0070C0"/>
              </a:solidFill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1012737" y="2817901"/>
            <a:ext cx="3806801" cy="1231104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fontAlgn="ctr"/>
            <a:r>
              <a:rPr lang="ru-RU" sz="2000" b="1" dirty="0">
                <a:solidFill>
                  <a:srgbClr val="00B05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5 535 </a:t>
            </a:r>
            <a:r>
              <a:rPr lang="ru-RU" sz="1800" dirty="0" err="1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ауылдың</a:t>
            </a:r>
            <a: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800" dirty="0" err="1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аудан</a:t>
            </a:r>
            <a: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800" dirty="0" err="1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орталығына</a:t>
            </a:r>
            <a: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800" dirty="0" err="1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дейін</a:t>
            </a:r>
            <a: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800" dirty="0" err="1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асфальтталған</a:t>
            </a:r>
            <a: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автомобиль </a:t>
            </a:r>
            <a:r>
              <a:rPr lang="ru-RU" sz="1800" dirty="0" err="1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жолдары</a:t>
            </a:r>
            <a: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бар (</a:t>
            </a:r>
            <a:r>
              <a:rPr lang="ru-RU" sz="1800" dirty="0" err="1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немесе</a:t>
            </a:r>
            <a: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88%)</a:t>
            </a:r>
            <a:endParaRPr lang="ru-RU" sz="1800" dirty="0">
              <a:solidFill>
                <a:srgbClr val="0070C0"/>
              </a:solidFill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971177" y="4123848"/>
            <a:ext cx="3806801" cy="646329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fontAlgn="ctr"/>
            <a:r>
              <a:rPr lang="ru-RU" sz="1800" b="1" dirty="0">
                <a:solidFill>
                  <a:srgbClr val="00B05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3 738 </a:t>
            </a:r>
            <a:r>
              <a:rPr lang="ru-RU" sz="1800" dirty="0" err="1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ауылдың</a:t>
            </a:r>
            <a: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800" dirty="0" err="1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мәдениет</a:t>
            </a:r>
            <a: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800" dirty="0" err="1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объектілері</a:t>
            </a:r>
            <a: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бар (</a:t>
            </a:r>
            <a:r>
              <a:rPr lang="ru-RU" sz="1800" dirty="0" err="1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немесе</a:t>
            </a:r>
            <a: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59,4%)</a:t>
            </a:r>
            <a:endParaRPr lang="ru-RU" sz="1800" dirty="0">
              <a:solidFill>
                <a:srgbClr val="0070C0"/>
              </a:solidFill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5892997" y="3962265"/>
            <a:ext cx="3076436" cy="923328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fontAlgn="ctr"/>
            <a:r>
              <a:rPr lang="ru-RU" sz="1800" b="1" dirty="0">
                <a:solidFill>
                  <a:srgbClr val="00B05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4 023 </a:t>
            </a:r>
            <a:r>
              <a:rPr lang="ru-RU" sz="1800" dirty="0" err="1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ауылдың</a:t>
            </a:r>
            <a: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спорт </a:t>
            </a:r>
            <a:r>
              <a:rPr lang="ru-RU" sz="1800" dirty="0" err="1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нысандары</a:t>
            </a:r>
            <a: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бар </a:t>
            </a:r>
            <a:b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ru-RU" sz="1800" dirty="0" err="1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немесе</a:t>
            </a:r>
            <a: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63,9%)</a:t>
            </a:r>
            <a:endParaRPr lang="ru-RU" sz="1800" dirty="0">
              <a:solidFill>
                <a:srgbClr val="0070C0"/>
              </a:solidFill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19" name="Straight Connector 32">
            <a:extLst>
              <a:ext uri="{FF2B5EF4-FFF2-40B4-BE49-F238E27FC236}">
                <a16:creationId xmlns:a16="http://schemas.microsoft.com/office/drawing/2014/main" id="{C390578C-F995-47B7-B532-7EBDB11C3BB5}"/>
              </a:ext>
            </a:extLst>
          </p:cNvPr>
          <p:cNvCxnSpPr/>
          <p:nvPr/>
        </p:nvCxnSpPr>
        <p:spPr>
          <a:xfrm>
            <a:off x="0" y="564421"/>
            <a:ext cx="9144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Freeform 223"/>
          <p:cNvSpPr>
            <a:spLocks noEditPoints="1"/>
          </p:cNvSpPr>
          <p:nvPr/>
        </p:nvSpPr>
        <p:spPr bwMode="auto">
          <a:xfrm>
            <a:off x="5095123" y="2976696"/>
            <a:ext cx="590782" cy="431522"/>
          </a:xfrm>
          <a:custGeom>
            <a:avLst/>
            <a:gdLst>
              <a:gd name="T0" fmla="*/ 2147483646 w 68"/>
              <a:gd name="T1" fmla="*/ 2147483646 h 58"/>
              <a:gd name="T2" fmla="*/ 2147483646 w 68"/>
              <a:gd name="T3" fmla="*/ 2147483646 h 58"/>
              <a:gd name="T4" fmla="*/ 0 w 68"/>
              <a:gd name="T5" fmla="*/ 2147483646 h 58"/>
              <a:gd name="T6" fmla="*/ 0 w 68"/>
              <a:gd name="T7" fmla="*/ 2147483646 h 58"/>
              <a:gd name="T8" fmla="*/ 2147483646 w 68"/>
              <a:gd name="T9" fmla="*/ 2147483646 h 58"/>
              <a:gd name="T10" fmla="*/ 2147483646 w 68"/>
              <a:gd name="T11" fmla="*/ 2147483646 h 58"/>
              <a:gd name="T12" fmla="*/ 2147483646 w 68"/>
              <a:gd name="T13" fmla="*/ 2147483646 h 58"/>
              <a:gd name="T14" fmla="*/ 2147483646 w 68"/>
              <a:gd name="T15" fmla="*/ 2147483646 h 58"/>
              <a:gd name="T16" fmla="*/ 2147483646 w 68"/>
              <a:gd name="T17" fmla="*/ 2147483646 h 58"/>
              <a:gd name="T18" fmla="*/ 2147483646 w 68"/>
              <a:gd name="T19" fmla="*/ 2147483646 h 58"/>
              <a:gd name="T20" fmla="*/ 2147483646 w 68"/>
              <a:gd name="T21" fmla="*/ 2147483646 h 58"/>
              <a:gd name="T22" fmla="*/ 2147483646 w 68"/>
              <a:gd name="T23" fmla="*/ 2147483646 h 58"/>
              <a:gd name="T24" fmla="*/ 2147483646 w 68"/>
              <a:gd name="T25" fmla="*/ 0 h 58"/>
              <a:gd name="T26" fmla="*/ 2147483646 w 68"/>
              <a:gd name="T27" fmla="*/ 0 h 58"/>
              <a:gd name="T28" fmla="*/ 2147483646 w 68"/>
              <a:gd name="T29" fmla="*/ 2147483646 h 58"/>
              <a:gd name="T30" fmla="*/ 2147483646 w 68"/>
              <a:gd name="T31" fmla="*/ 2147483646 h 58"/>
              <a:gd name="T32" fmla="*/ 2147483646 w 68"/>
              <a:gd name="T33" fmla="*/ 2147483646 h 58"/>
              <a:gd name="T34" fmla="*/ 2147483646 w 68"/>
              <a:gd name="T35" fmla="*/ 2147483646 h 58"/>
              <a:gd name="T36" fmla="*/ 2147483646 w 68"/>
              <a:gd name="T37" fmla="*/ 2147483646 h 58"/>
              <a:gd name="T38" fmla="*/ 2147483646 w 68"/>
              <a:gd name="T39" fmla="*/ 2147483646 h 58"/>
              <a:gd name="T40" fmla="*/ 2147483646 w 68"/>
              <a:gd name="T41" fmla="*/ 2147483646 h 58"/>
              <a:gd name="T42" fmla="*/ 2147483646 w 68"/>
              <a:gd name="T43" fmla="*/ 2147483646 h 58"/>
              <a:gd name="T44" fmla="*/ 2147483646 w 68"/>
              <a:gd name="T45" fmla="*/ 2147483646 h 58"/>
              <a:gd name="T46" fmla="*/ 2147483646 w 68"/>
              <a:gd name="T47" fmla="*/ 2147483646 h 58"/>
              <a:gd name="T48" fmla="*/ 2147483646 w 68"/>
              <a:gd name="T49" fmla="*/ 2147483646 h 58"/>
              <a:gd name="T50" fmla="*/ 2147483646 w 68"/>
              <a:gd name="T51" fmla="*/ 2147483646 h 58"/>
              <a:gd name="T52" fmla="*/ 2147483646 w 68"/>
              <a:gd name="T53" fmla="*/ 2147483646 h 58"/>
              <a:gd name="T54" fmla="*/ 2147483646 w 68"/>
              <a:gd name="T55" fmla="*/ 2147483646 h 58"/>
              <a:gd name="T56" fmla="*/ 2147483646 w 68"/>
              <a:gd name="T57" fmla="*/ 2147483646 h 58"/>
              <a:gd name="T58" fmla="*/ 2147483646 w 68"/>
              <a:gd name="T59" fmla="*/ 2147483646 h 58"/>
              <a:gd name="T60" fmla="*/ 2147483646 w 68"/>
              <a:gd name="T61" fmla="*/ 2147483646 h 58"/>
              <a:gd name="T62" fmla="*/ 2147483646 w 68"/>
              <a:gd name="T63" fmla="*/ 2147483646 h 58"/>
              <a:gd name="T64" fmla="*/ 2147483646 w 68"/>
              <a:gd name="T65" fmla="*/ 2147483646 h 58"/>
              <a:gd name="T66" fmla="*/ 2147483646 w 68"/>
              <a:gd name="T67" fmla="*/ 2147483646 h 58"/>
              <a:gd name="T68" fmla="*/ 2147483646 w 68"/>
              <a:gd name="T69" fmla="*/ 2147483646 h 58"/>
              <a:gd name="T70" fmla="*/ 2147483646 w 68"/>
              <a:gd name="T71" fmla="*/ 2147483646 h 58"/>
              <a:gd name="T72" fmla="*/ 2147483646 w 68"/>
              <a:gd name="T73" fmla="*/ 2147483646 h 58"/>
              <a:gd name="T74" fmla="*/ 2147483646 w 68"/>
              <a:gd name="T75" fmla="*/ 2147483646 h 58"/>
              <a:gd name="T76" fmla="*/ 2147483646 w 68"/>
              <a:gd name="T77" fmla="*/ 2147483646 h 58"/>
              <a:gd name="T78" fmla="*/ 2147483646 w 68"/>
              <a:gd name="T79" fmla="*/ 2147483646 h 58"/>
              <a:gd name="T80" fmla="*/ 2147483646 w 68"/>
              <a:gd name="T81" fmla="*/ 2147483646 h 58"/>
              <a:gd name="T82" fmla="*/ 2147483646 w 68"/>
              <a:gd name="T83" fmla="*/ 2147483646 h 58"/>
              <a:gd name="T84" fmla="*/ 2147483646 w 68"/>
              <a:gd name="T85" fmla="*/ 2147483646 h 58"/>
              <a:gd name="T86" fmla="*/ 2147483646 w 68"/>
              <a:gd name="T87" fmla="*/ 2147483646 h 58"/>
              <a:gd name="T88" fmla="*/ 2147483646 w 68"/>
              <a:gd name="T89" fmla="*/ 2147483646 h 58"/>
              <a:gd name="T90" fmla="*/ 2147483646 w 68"/>
              <a:gd name="T91" fmla="*/ 2147483646 h 58"/>
              <a:gd name="T92" fmla="*/ 2147483646 w 68"/>
              <a:gd name="T93" fmla="*/ 2147483646 h 58"/>
              <a:gd name="T94" fmla="*/ 2147483646 w 68"/>
              <a:gd name="T95" fmla="*/ 2147483646 h 58"/>
              <a:gd name="T96" fmla="*/ 2147483646 w 68"/>
              <a:gd name="T97" fmla="*/ 2147483646 h 58"/>
              <a:gd name="T98" fmla="*/ 2147483646 w 68"/>
              <a:gd name="T99" fmla="*/ 2147483646 h 58"/>
              <a:gd name="T100" fmla="*/ 2147483646 w 68"/>
              <a:gd name="T101" fmla="*/ 2147483646 h 58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68" h="58">
                <a:moveTo>
                  <a:pt x="10" y="58"/>
                </a:moveTo>
                <a:cubicBezTo>
                  <a:pt x="9" y="58"/>
                  <a:pt x="9" y="58"/>
                  <a:pt x="9" y="58"/>
                </a:cubicBezTo>
                <a:cubicBezTo>
                  <a:pt x="4" y="58"/>
                  <a:pt x="0" y="54"/>
                  <a:pt x="0" y="49"/>
                </a:cubicBezTo>
                <a:cubicBezTo>
                  <a:pt x="0" y="18"/>
                  <a:pt x="0" y="18"/>
                  <a:pt x="0" y="18"/>
                </a:cubicBezTo>
                <a:cubicBezTo>
                  <a:pt x="0" y="13"/>
                  <a:pt x="4" y="9"/>
                  <a:pt x="9" y="9"/>
                </a:cubicBezTo>
                <a:cubicBezTo>
                  <a:pt x="10" y="9"/>
                  <a:pt x="10" y="9"/>
                  <a:pt x="10" y="9"/>
                </a:cubicBezTo>
                <a:lnTo>
                  <a:pt x="10" y="58"/>
                </a:lnTo>
                <a:close/>
                <a:moveTo>
                  <a:pt x="55" y="58"/>
                </a:moveTo>
                <a:cubicBezTo>
                  <a:pt x="14" y="58"/>
                  <a:pt x="14" y="58"/>
                  <a:pt x="14" y="58"/>
                </a:cubicBezTo>
                <a:cubicBezTo>
                  <a:pt x="14" y="9"/>
                  <a:pt x="14" y="9"/>
                  <a:pt x="14" y="9"/>
                </a:cubicBezTo>
                <a:cubicBezTo>
                  <a:pt x="20" y="9"/>
                  <a:pt x="20" y="9"/>
                  <a:pt x="20" y="9"/>
                </a:cubicBezTo>
                <a:cubicBezTo>
                  <a:pt x="20" y="3"/>
                  <a:pt x="20" y="3"/>
                  <a:pt x="20" y="3"/>
                </a:cubicBezTo>
                <a:cubicBezTo>
                  <a:pt x="20" y="1"/>
                  <a:pt x="22" y="0"/>
                  <a:pt x="24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47" y="0"/>
                  <a:pt x="49" y="1"/>
                  <a:pt x="49" y="3"/>
                </a:cubicBezTo>
                <a:cubicBezTo>
                  <a:pt x="49" y="9"/>
                  <a:pt x="49" y="9"/>
                  <a:pt x="49" y="9"/>
                </a:cubicBezTo>
                <a:cubicBezTo>
                  <a:pt x="55" y="9"/>
                  <a:pt x="55" y="9"/>
                  <a:pt x="55" y="9"/>
                </a:cubicBezTo>
                <a:lnTo>
                  <a:pt x="55" y="58"/>
                </a:lnTo>
                <a:close/>
                <a:moveTo>
                  <a:pt x="49" y="30"/>
                </a:moveTo>
                <a:cubicBezTo>
                  <a:pt x="49" y="29"/>
                  <a:pt x="49" y="29"/>
                  <a:pt x="48" y="29"/>
                </a:cubicBezTo>
                <a:cubicBezTo>
                  <a:pt x="39" y="29"/>
                  <a:pt x="39" y="29"/>
                  <a:pt x="39" y="29"/>
                </a:cubicBezTo>
                <a:cubicBezTo>
                  <a:pt x="39" y="20"/>
                  <a:pt x="39" y="20"/>
                  <a:pt x="39" y="20"/>
                </a:cubicBezTo>
                <a:cubicBezTo>
                  <a:pt x="39" y="20"/>
                  <a:pt x="39" y="19"/>
                  <a:pt x="38" y="19"/>
                </a:cubicBezTo>
                <a:cubicBezTo>
                  <a:pt x="31" y="19"/>
                  <a:pt x="31" y="19"/>
                  <a:pt x="31" y="19"/>
                </a:cubicBezTo>
                <a:cubicBezTo>
                  <a:pt x="30" y="19"/>
                  <a:pt x="30" y="20"/>
                  <a:pt x="30" y="20"/>
                </a:cubicBezTo>
                <a:cubicBezTo>
                  <a:pt x="30" y="29"/>
                  <a:pt x="30" y="29"/>
                  <a:pt x="30" y="29"/>
                </a:cubicBezTo>
                <a:cubicBezTo>
                  <a:pt x="21" y="29"/>
                  <a:pt x="21" y="29"/>
                  <a:pt x="21" y="29"/>
                </a:cubicBezTo>
                <a:cubicBezTo>
                  <a:pt x="20" y="29"/>
                  <a:pt x="20" y="29"/>
                  <a:pt x="20" y="30"/>
                </a:cubicBezTo>
                <a:cubicBezTo>
                  <a:pt x="20" y="37"/>
                  <a:pt x="20" y="37"/>
                  <a:pt x="20" y="37"/>
                </a:cubicBezTo>
                <a:cubicBezTo>
                  <a:pt x="20" y="38"/>
                  <a:pt x="20" y="38"/>
                  <a:pt x="21" y="38"/>
                </a:cubicBezTo>
                <a:cubicBezTo>
                  <a:pt x="30" y="38"/>
                  <a:pt x="30" y="38"/>
                  <a:pt x="30" y="38"/>
                </a:cubicBezTo>
                <a:cubicBezTo>
                  <a:pt x="30" y="47"/>
                  <a:pt x="30" y="47"/>
                  <a:pt x="30" y="47"/>
                </a:cubicBezTo>
                <a:cubicBezTo>
                  <a:pt x="30" y="48"/>
                  <a:pt x="30" y="48"/>
                  <a:pt x="31" y="48"/>
                </a:cubicBezTo>
                <a:cubicBezTo>
                  <a:pt x="38" y="48"/>
                  <a:pt x="38" y="48"/>
                  <a:pt x="38" y="48"/>
                </a:cubicBezTo>
                <a:cubicBezTo>
                  <a:pt x="39" y="48"/>
                  <a:pt x="39" y="48"/>
                  <a:pt x="39" y="47"/>
                </a:cubicBezTo>
                <a:cubicBezTo>
                  <a:pt x="39" y="38"/>
                  <a:pt x="39" y="38"/>
                  <a:pt x="39" y="38"/>
                </a:cubicBezTo>
                <a:cubicBezTo>
                  <a:pt x="48" y="38"/>
                  <a:pt x="48" y="38"/>
                  <a:pt x="48" y="38"/>
                </a:cubicBezTo>
                <a:cubicBezTo>
                  <a:pt x="49" y="38"/>
                  <a:pt x="49" y="38"/>
                  <a:pt x="49" y="37"/>
                </a:cubicBezTo>
                <a:lnTo>
                  <a:pt x="49" y="30"/>
                </a:lnTo>
                <a:close/>
                <a:moveTo>
                  <a:pt x="44" y="9"/>
                </a:moveTo>
                <a:cubicBezTo>
                  <a:pt x="44" y="4"/>
                  <a:pt x="44" y="4"/>
                  <a:pt x="44" y="4"/>
                </a:cubicBezTo>
                <a:cubicBezTo>
                  <a:pt x="25" y="4"/>
                  <a:pt x="25" y="4"/>
                  <a:pt x="25" y="4"/>
                </a:cubicBezTo>
                <a:cubicBezTo>
                  <a:pt x="25" y="9"/>
                  <a:pt x="25" y="9"/>
                  <a:pt x="25" y="9"/>
                </a:cubicBezTo>
                <a:lnTo>
                  <a:pt x="44" y="9"/>
                </a:lnTo>
                <a:close/>
                <a:moveTo>
                  <a:pt x="68" y="49"/>
                </a:moveTo>
                <a:cubicBezTo>
                  <a:pt x="68" y="54"/>
                  <a:pt x="65" y="58"/>
                  <a:pt x="60" y="58"/>
                </a:cubicBezTo>
                <a:cubicBezTo>
                  <a:pt x="59" y="58"/>
                  <a:pt x="59" y="58"/>
                  <a:pt x="59" y="58"/>
                </a:cubicBezTo>
                <a:cubicBezTo>
                  <a:pt x="59" y="9"/>
                  <a:pt x="59" y="9"/>
                  <a:pt x="59" y="9"/>
                </a:cubicBezTo>
                <a:cubicBezTo>
                  <a:pt x="60" y="9"/>
                  <a:pt x="60" y="9"/>
                  <a:pt x="60" y="9"/>
                </a:cubicBezTo>
                <a:cubicBezTo>
                  <a:pt x="65" y="9"/>
                  <a:pt x="68" y="13"/>
                  <a:pt x="68" y="18"/>
                </a:cubicBezTo>
                <a:lnTo>
                  <a:pt x="68" y="4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/>
          <a:lstStyle/>
          <a:p>
            <a:endParaRPr lang="ru-RU"/>
          </a:p>
        </p:txBody>
      </p:sp>
      <p:sp>
        <p:nvSpPr>
          <p:cNvPr id="29" name="Freeform 152"/>
          <p:cNvSpPr>
            <a:spLocks noEditPoints="1"/>
          </p:cNvSpPr>
          <p:nvPr/>
        </p:nvSpPr>
        <p:spPr bwMode="auto">
          <a:xfrm>
            <a:off x="232515" y="4197926"/>
            <a:ext cx="504637" cy="512403"/>
          </a:xfrm>
          <a:custGeom>
            <a:avLst/>
            <a:gdLst>
              <a:gd name="T0" fmla="*/ 2147483646 w 73"/>
              <a:gd name="T1" fmla="*/ 2147483646 h 68"/>
              <a:gd name="T2" fmla="*/ 2147483646 w 73"/>
              <a:gd name="T3" fmla="*/ 2147483646 h 68"/>
              <a:gd name="T4" fmla="*/ 2147483646 w 73"/>
              <a:gd name="T5" fmla="*/ 2147483646 h 68"/>
              <a:gd name="T6" fmla="*/ 2147483646 w 73"/>
              <a:gd name="T7" fmla="*/ 2147483646 h 68"/>
              <a:gd name="T8" fmla="*/ 2147483646 w 73"/>
              <a:gd name="T9" fmla="*/ 2147483646 h 68"/>
              <a:gd name="T10" fmla="*/ 2147483646 w 73"/>
              <a:gd name="T11" fmla="*/ 2147483646 h 68"/>
              <a:gd name="T12" fmla="*/ 0 w 73"/>
              <a:gd name="T13" fmla="*/ 2147483646 h 68"/>
              <a:gd name="T14" fmla="*/ 0 w 73"/>
              <a:gd name="T15" fmla="*/ 2147483646 h 68"/>
              <a:gd name="T16" fmla="*/ 2147483646 w 73"/>
              <a:gd name="T17" fmla="*/ 0 h 68"/>
              <a:gd name="T18" fmla="*/ 2147483646 w 73"/>
              <a:gd name="T19" fmla="*/ 2147483646 h 68"/>
              <a:gd name="T20" fmla="*/ 2147483646 w 73"/>
              <a:gd name="T21" fmla="*/ 2147483646 h 68"/>
              <a:gd name="T22" fmla="*/ 2147483646 w 73"/>
              <a:gd name="T23" fmla="*/ 2147483646 h 68"/>
              <a:gd name="T24" fmla="*/ 0 w 73"/>
              <a:gd name="T25" fmla="*/ 2147483646 h 68"/>
              <a:gd name="T26" fmla="*/ 0 w 73"/>
              <a:gd name="T27" fmla="*/ 2147483646 h 68"/>
              <a:gd name="T28" fmla="*/ 2147483646 w 73"/>
              <a:gd name="T29" fmla="*/ 2147483646 h 68"/>
              <a:gd name="T30" fmla="*/ 2147483646 w 73"/>
              <a:gd name="T31" fmla="*/ 2147483646 h 68"/>
              <a:gd name="T32" fmla="*/ 2147483646 w 73"/>
              <a:gd name="T33" fmla="*/ 2147483646 h 68"/>
              <a:gd name="T34" fmla="*/ 2147483646 w 73"/>
              <a:gd name="T35" fmla="*/ 2147483646 h 68"/>
              <a:gd name="T36" fmla="*/ 2147483646 w 73"/>
              <a:gd name="T37" fmla="*/ 2147483646 h 68"/>
              <a:gd name="T38" fmla="*/ 2147483646 w 73"/>
              <a:gd name="T39" fmla="*/ 2147483646 h 68"/>
              <a:gd name="T40" fmla="*/ 2147483646 w 73"/>
              <a:gd name="T41" fmla="*/ 2147483646 h 68"/>
              <a:gd name="T42" fmla="*/ 2147483646 w 73"/>
              <a:gd name="T43" fmla="*/ 2147483646 h 68"/>
              <a:gd name="T44" fmla="*/ 2147483646 w 73"/>
              <a:gd name="T45" fmla="*/ 2147483646 h 68"/>
              <a:gd name="T46" fmla="*/ 2147483646 w 73"/>
              <a:gd name="T47" fmla="*/ 2147483646 h 68"/>
              <a:gd name="T48" fmla="*/ 2147483646 w 73"/>
              <a:gd name="T49" fmla="*/ 2147483646 h 68"/>
              <a:gd name="T50" fmla="*/ 2147483646 w 73"/>
              <a:gd name="T51" fmla="*/ 2147483646 h 68"/>
              <a:gd name="T52" fmla="*/ 2147483646 w 73"/>
              <a:gd name="T53" fmla="*/ 2147483646 h 68"/>
              <a:gd name="T54" fmla="*/ 2147483646 w 73"/>
              <a:gd name="T55" fmla="*/ 2147483646 h 68"/>
              <a:gd name="T56" fmla="*/ 2147483646 w 73"/>
              <a:gd name="T57" fmla="*/ 2147483646 h 68"/>
              <a:gd name="T58" fmla="*/ 2147483646 w 73"/>
              <a:gd name="T59" fmla="*/ 2147483646 h 68"/>
              <a:gd name="T60" fmla="*/ 2147483646 w 73"/>
              <a:gd name="T61" fmla="*/ 2147483646 h 68"/>
              <a:gd name="T62" fmla="*/ 2147483646 w 73"/>
              <a:gd name="T63" fmla="*/ 2147483646 h 68"/>
              <a:gd name="T64" fmla="*/ 2147483646 w 73"/>
              <a:gd name="T65" fmla="*/ 2147483646 h 68"/>
              <a:gd name="T66" fmla="*/ 2147483646 w 73"/>
              <a:gd name="T67" fmla="*/ 2147483646 h 68"/>
              <a:gd name="T68" fmla="*/ 2147483646 w 73"/>
              <a:gd name="T69" fmla="*/ 2147483646 h 68"/>
              <a:gd name="T70" fmla="*/ 2147483646 w 73"/>
              <a:gd name="T71" fmla="*/ 2147483646 h 68"/>
              <a:gd name="T72" fmla="*/ 2147483646 w 73"/>
              <a:gd name="T73" fmla="*/ 2147483646 h 68"/>
              <a:gd name="T74" fmla="*/ 2147483646 w 73"/>
              <a:gd name="T75" fmla="*/ 2147483646 h 68"/>
              <a:gd name="T76" fmla="*/ 2147483646 w 73"/>
              <a:gd name="T77" fmla="*/ 2147483646 h 68"/>
              <a:gd name="T78" fmla="*/ 2147483646 w 73"/>
              <a:gd name="T79" fmla="*/ 2147483646 h 68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73" h="68">
                <a:moveTo>
                  <a:pt x="73" y="14"/>
                </a:moveTo>
                <a:cubicBezTo>
                  <a:pt x="73" y="19"/>
                  <a:pt x="73" y="19"/>
                  <a:pt x="73" y="19"/>
                </a:cubicBezTo>
                <a:cubicBezTo>
                  <a:pt x="68" y="19"/>
                  <a:pt x="68" y="19"/>
                  <a:pt x="68" y="19"/>
                </a:cubicBezTo>
                <a:cubicBezTo>
                  <a:pt x="68" y="20"/>
                  <a:pt x="67" y="22"/>
                  <a:pt x="65" y="22"/>
                </a:cubicBezTo>
                <a:cubicBezTo>
                  <a:pt x="7" y="22"/>
                  <a:pt x="7" y="22"/>
                  <a:pt x="7" y="22"/>
                </a:cubicBezTo>
                <a:cubicBezTo>
                  <a:pt x="6" y="22"/>
                  <a:pt x="5" y="20"/>
                  <a:pt x="5" y="19"/>
                </a:cubicBezTo>
                <a:cubicBezTo>
                  <a:pt x="0" y="19"/>
                  <a:pt x="0" y="19"/>
                  <a:pt x="0" y="19"/>
                </a:cubicBezTo>
                <a:cubicBezTo>
                  <a:pt x="0" y="14"/>
                  <a:pt x="0" y="14"/>
                  <a:pt x="0" y="14"/>
                </a:cubicBezTo>
                <a:cubicBezTo>
                  <a:pt x="36" y="0"/>
                  <a:pt x="36" y="0"/>
                  <a:pt x="36" y="0"/>
                </a:cubicBezTo>
                <a:lnTo>
                  <a:pt x="73" y="14"/>
                </a:lnTo>
                <a:close/>
                <a:moveTo>
                  <a:pt x="73" y="63"/>
                </a:moveTo>
                <a:cubicBezTo>
                  <a:pt x="73" y="68"/>
                  <a:pt x="73" y="68"/>
                  <a:pt x="73" y="68"/>
                </a:cubicBezTo>
                <a:cubicBezTo>
                  <a:pt x="0" y="68"/>
                  <a:pt x="0" y="68"/>
                  <a:pt x="0" y="68"/>
                </a:cubicBezTo>
                <a:cubicBezTo>
                  <a:pt x="0" y="63"/>
                  <a:pt x="0" y="63"/>
                  <a:pt x="0" y="63"/>
                </a:cubicBezTo>
                <a:cubicBezTo>
                  <a:pt x="0" y="62"/>
                  <a:pt x="1" y="60"/>
                  <a:pt x="2" y="60"/>
                </a:cubicBezTo>
                <a:cubicBezTo>
                  <a:pt x="70" y="60"/>
                  <a:pt x="70" y="60"/>
                  <a:pt x="70" y="60"/>
                </a:cubicBezTo>
                <a:cubicBezTo>
                  <a:pt x="71" y="60"/>
                  <a:pt x="73" y="62"/>
                  <a:pt x="73" y="63"/>
                </a:cubicBezTo>
                <a:close/>
                <a:moveTo>
                  <a:pt x="19" y="24"/>
                </a:moveTo>
                <a:cubicBezTo>
                  <a:pt x="19" y="53"/>
                  <a:pt x="19" y="53"/>
                  <a:pt x="19" y="53"/>
                </a:cubicBezTo>
                <a:cubicBezTo>
                  <a:pt x="24" y="53"/>
                  <a:pt x="24" y="53"/>
                  <a:pt x="24" y="53"/>
                </a:cubicBezTo>
                <a:cubicBezTo>
                  <a:pt x="24" y="24"/>
                  <a:pt x="24" y="24"/>
                  <a:pt x="24" y="24"/>
                </a:cubicBezTo>
                <a:cubicBezTo>
                  <a:pt x="34" y="24"/>
                  <a:pt x="34" y="24"/>
                  <a:pt x="34" y="24"/>
                </a:cubicBezTo>
                <a:cubicBezTo>
                  <a:pt x="34" y="53"/>
                  <a:pt x="34" y="53"/>
                  <a:pt x="34" y="53"/>
                </a:cubicBezTo>
                <a:cubicBezTo>
                  <a:pt x="39" y="53"/>
                  <a:pt x="39" y="53"/>
                  <a:pt x="39" y="53"/>
                </a:cubicBezTo>
                <a:cubicBezTo>
                  <a:pt x="39" y="24"/>
                  <a:pt x="39" y="24"/>
                  <a:pt x="39" y="24"/>
                </a:cubicBezTo>
                <a:cubicBezTo>
                  <a:pt x="48" y="24"/>
                  <a:pt x="48" y="24"/>
                  <a:pt x="48" y="24"/>
                </a:cubicBezTo>
                <a:cubicBezTo>
                  <a:pt x="48" y="53"/>
                  <a:pt x="48" y="53"/>
                  <a:pt x="48" y="53"/>
                </a:cubicBezTo>
                <a:cubicBezTo>
                  <a:pt x="53" y="53"/>
                  <a:pt x="53" y="53"/>
                  <a:pt x="53" y="53"/>
                </a:cubicBezTo>
                <a:cubicBezTo>
                  <a:pt x="53" y="24"/>
                  <a:pt x="53" y="24"/>
                  <a:pt x="53" y="24"/>
                </a:cubicBezTo>
                <a:cubicBezTo>
                  <a:pt x="63" y="24"/>
                  <a:pt x="63" y="24"/>
                  <a:pt x="63" y="24"/>
                </a:cubicBezTo>
                <a:cubicBezTo>
                  <a:pt x="63" y="53"/>
                  <a:pt x="63" y="53"/>
                  <a:pt x="63" y="53"/>
                </a:cubicBezTo>
                <a:cubicBezTo>
                  <a:pt x="65" y="53"/>
                  <a:pt x="65" y="53"/>
                  <a:pt x="65" y="53"/>
                </a:cubicBezTo>
                <a:cubicBezTo>
                  <a:pt x="67" y="53"/>
                  <a:pt x="68" y="54"/>
                  <a:pt x="68" y="56"/>
                </a:cubicBezTo>
                <a:cubicBezTo>
                  <a:pt x="68" y="58"/>
                  <a:pt x="68" y="58"/>
                  <a:pt x="68" y="58"/>
                </a:cubicBezTo>
                <a:cubicBezTo>
                  <a:pt x="5" y="58"/>
                  <a:pt x="5" y="58"/>
                  <a:pt x="5" y="58"/>
                </a:cubicBezTo>
                <a:cubicBezTo>
                  <a:pt x="5" y="56"/>
                  <a:pt x="5" y="56"/>
                  <a:pt x="5" y="56"/>
                </a:cubicBezTo>
                <a:cubicBezTo>
                  <a:pt x="5" y="54"/>
                  <a:pt x="6" y="53"/>
                  <a:pt x="7" y="53"/>
                </a:cubicBezTo>
                <a:cubicBezTo>
                  <a:pt x="9" y="53"/>
                  <a:pt x="9" y="53"/>
                  <a:pt x="9" y="53"/>
                </a:cubicBezTo>
                <a:cubicBezTo>
                  <a:pt x="9" y="24"/>
                  <a:pt x="9" y="24"/>
                  <a:pt x="9" y="24"/>
                </a:cubicBezTo>
                <a:lnTo>
                  <a:pt x="19" y="24"/>
                </a:lnTo>
                <a:close/>
              </a:path>
            </a:pathLst>
          </a:custGeom>
          <a:solidFill>
            <a:schemeClr val="tx2"/>
          </a:solidFill>
        </p:spPr>
        <p:txBody>
          <a:bodyPr/>
          <a:lstStyle/>
          <a:p>
            <a:endParaRPr lang="ru-RU"/>
          </a:p>
        </p:txBody>
      </p:sp>
      <p:sp>
        <p:nvSpPr>
          <p:cNvPr id="30" name="Freeform 204"/>
          <p:cNvSpPr>
            <a:spLocks noEditPoints="1"/>
          </p:cNvSpPr>
          <p:nvPr/>
        </p:nvSpPr>
        <p:spPr bwMode="auto">
          <a:xfrm>
            <a:off x="5095123" y="1879219"/>
            <a:ext cx="590782" cy="448345"/>
          </a:xfrm>
          <a:custGeom>
            <a:avLst/>
            <a:gdLst>
              <a:gd name="T0" fmla="*/ 2147483646 w 87"/>
              <a:gd name="T1" fmla="*/ 2147483646 h 58"/>
              <a:gd name="T2" fmla="*/ 2147483646 w 87"/>
              <a:gd name="T3" fmla="*/ 2147483646 h 58"/>
              <a:gd name="T4" fmla="*/ 2147483646 w 87"/>
              <a:gd name="T5" fmla="*/ 2147483646 h 58"/>
              <a:gd name="T6" fmla="*/ 2147483646 w 87"/>
              <a:gd name="T7" fmla="*/ 2147483646 h 58"/>
              <a:gd name="T8" fmla="*/ 2147483646 w 87"/>
              <a:gd name="T9" fmla="*/ 2147483646 h 58"/>
              <a:gd name="T10" fmla="*/ 2147483646 w 87"/>
              <a:gd name="T11" fmla="*/ 2147483646 h 58"/>
              <a:gd name="T12" fmla="*/ 2147483646 w 87"/>
              <a:gd name="T13" fmla="*/ 2147483646 h 58"/>
              <a:gd name="T14" fmla="*/ 2147483646 w 87"/>
              <a:gd name="T15" fmla="*/ 2147483646 h 58"/>
              <a:gd name="T16" fmla="*/ 2147483646 w 87"/>
              <a:gd name="T17" fmla="*/ 2147483646 h 58"/>
              <a:gd name="T18" fmla="*/ 2147483646 w 87"/>
              <a:gd name="T19" fmla="*/ 2147483646 h 58"/>
              <a:gd name="T20" fmla="*/ 2147483646 w 87"/>
              <a:gd name="T21" fmla="*/ 2147483646 h 58"/>
              <a:gd name="T22" fmla="*/ 2147483646 w 87"/>
              <a:gd name="T23" fmla="*/ 2147483646 h 58"/>
              <a:gd name="T24" fmla="*/ 2147483646 w 87"/>
              <a:gd name="T25" fmla="*/ 2147483646 h 58"/>
              <a:gd name="T26" fmla="*/ 2147483646 w 87"/>
              <a:gd name="T27" fmla="*/ 2147483646 h 58"/>
              <a:gd name="T28" fmla="*/ 2147483646 w 87"/>
              <a:gd name="T29" fmla="*/ 2147483646 h 58"/>
              <a:gd name="T30" fmla="*/ 2147483646 w 87"/>
              <a:gd name="T31" fmla="*/ 2147483646 h 58"/>
              <a:gd name="T32" fmla="*/ 2147483646 w 87"/>
              <a:gd name="T33" fmla="*/ 2147483646 h 58"/>
              <a:gd name="T34" fmla="*/ 2147483646 w 87"/>
              <a:gd name="T35" fmla="*/ 2147483646 h 58"/>
              <a:gd name="T36" fmla="*/ 2147483646 w 87"/>
              <a:gd name="T37" fmla="*/ 2147483646 h 58"/>
              <a:gd name="T38" fmla="*/ 0 w 87"/>
              <a:gd name="T39" fmla="*/ 2147483646 h 58"/>
              <a:gd name="T40" fmla="*/ 2147483646 w 87"/>
              <a:gd name="T41" fmla="*/ 2147483646 h 58"/>
              <a:gd name="T42" fmla="*/ 2147483646 w 87"/>
              <a:gd name="T43" fmla="*/ 0 h 58"/>
              <a:gd name="T44" fmla="*/ 2147483646 w 87"/>
              <a:gd name="T45" fmla="*/ 0 h 58"/>
              <a:gd name="T46" fmla="*/ 2147483646 w 87"/>
              <a:gd name="T47" fmla="*/ 0 h 58"/>
              <a:gd name="T48" fmla="*/ 2147483646 w 87"/>
              <a:gd name="T49" fmla="*/ 2147483646 h 58"/>
              <a:gd name="T50" fmla="*/ 2147483646 w 87"/>
              <a:gd name="T51" fmla="*/ 2147483646 h 58"/>
              <a:gd name="T52" fmla="*/ 2147483646 w 87"/>
              <a:gd name="T53" fmla="*/ 2147483646 h 58"/>
              <a:gd name="T54" fmla="*/ 2147483646 w 87"/>
              <a:gd name="T55" fmla="*/ 2147483646 h 58"/>
              <a:gd name="T56" fmla="*/ 2147483646 w 87"/>
              <a:gd name="T57" fmla="*/ 2147483646 h 58"/>
              <a:gd name="T58" fmla="*/ 2147483646 w 87"/>
              <a:gd name="T59" fmla="*/ 2147483646 h 58"/>
              <a:gd name="T60" fmla="*/ 2147483646 w 87"/>
              <a:gd name="T61" fmla="*/ 2147483646 h 58"/>
              <a:gd name="T62" fmla="*/ 2147483646 w 87"/>
              <a:gd name="T63" fmla="*/ 2147483646 h 58"/>
              <a:gd name="T64" fmla="*/ 2147483646 w 87"/>
              <a:gd name="T65" fmla="*/ 2147483646 h 58"/>
              <a:gd name="T66" fmla="*/ 2147483646 w 87"/>
              <a:gd name="T67" fmla="*/ 2147483646 h 58"/>
              <a:gd name="T68" fmla="*/ 2147483646 w 87"/>
              <a:gd name="T69" fmla="*/ 2147483646 h 58"/>
              <a:gd name="T70" fmla="*/ 2147483646 w 87"/>
              <a:gd name="T71" fmla="*/ 2147483646 h 5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87" h="58">
                <a:moveTo>
                  <a:pt x="86" y="15"/>
                </a:moveTo>
                <a:cubicBezTo>
                  <a:pt x="44" y="29"/>
                  <a:pt x="44" y="29"/>
                  <a:pt x="44" y="29"/>
                </a:cubicBezTo>
                <a:cubicBezTo>
                  <a:pt x="44" y="29"/>
                  <a:pt x="44" y="29"/>
                  <a:pt x="43" y="29"/>
                </a:cubicBezTo>
                <a:cubicBezTo>
                  <a:pt x="43" y="29"/>
                  <a:pt x="43" y="29"/>
                  <a:pt x="43" y="29"/>
                </a:cubicBezTo>
                <a:cubicBezTo>
                  <a:pt x="18" y="21"/>
                  <a:pt x="18" y="21"/>
                  <a:pt x="18" y="21"/>
                </a:cubicBezTo>
                <a:cubicBezTo>
                  <a:pt x="16" y="23"/>
                  <a:pt x="15" y="27"/>
                  <a:pt x="14" y="32"/>
                </a:cubicBezTo>
                <a:cubicBezTo>
                  <a:pt x="16" y="33"/>
                  <a:pt x="17" y="34"/>
                  <a:pt x="17" y="36"/>
                </a:cubicBezTo>
                <a:cubicBezTo>
                  <a:pt x="17" y="38"/>
                  <a:pt x="16" y="39"/>
                  <a:pt x="15" y="40"/>
                </a:cubicBezTo>
                <a:cubicBezTo>
                  <a:pt x="17" y="56"/>
                  <a:pt x="17" y="56"/>
                  <a:pt x="17" y="56"/>
                </a:cubicBezTo>
                <a:cubicBezTo>
                  <a:pt x="17" y="57"/>
                  <a:pt x="17" y="57"/>
                  <a:pt x="16" y="57"/>
                </a:cubicBezTo>
                <a:cubicBezTo>
                  <a:pt x="16" y="58"/>
                  <a:pt x="16" y="58"/>
                  <a:pt x="16" y="58"/>
                </a:cubicBezTo>
                <a:cubicBezTo>
                  <a:pt x="8" y="58"/>
                  <a:pt x="8" y="58"/>
                  <a:pt x="8" y="58"/>
                </a:cubicBezTo>
                <a:cubicBezTo>
                  <a:pt x="8" y="58"/>
                  <a:pt x="8" y="58"/>
                  <a:pt x="7" y="57"/>
                </a:cubicBezTo>
                <a:cubicBezTo>
                  <a:pt x="7" y="57"/>
                  <a:pt x="7" y="57"/>
                  <a:pt x="7" y="56"/>
                </a:cubicBezTo>
                <a:cubicBezTo>
                  <a:pt x="9" y="40"/>
                  <a:pt x="9" y="40"/>
                  <a:pt x="9" y="40"/>
                </a:cubicBezTo>
                <a:cubicBezTo>
                  <a:pt x="8" y="39"/>
                  <a:pt x="7" y="38"/>
                  <a:pt x="7" y="36"/>
                </a:cubicBezTo>
                <a:cubicBezTo>
                  <a:pt x="7" y="34"/>
                  <a:pt x="8" y="33"/>
                  <a:pt x="10" y="32"/>
                </a:cubicBezTo>
                <a:cubicBezTo>
                  <a:pt x="10" y="27"/>
                  <a:pt x="11" y="23"/>
                  <a:pt x="13" y="19"/>
                </a:cubicBezTo>
                <a:cubicBezTo>
                  <a:pt x="1" y="15"/>
                  <a:pt x="1" y="15"/>
                  <a:pt x="1" y="15"/>
                </a:cubicBezTo>
                <a:cubicBezTo>
                  <a:pt x="0" y="15"/>
                  <a:pt x="0" y="15"/>
                  <a:pt x="0" y="14"/>
                </a:cubicBezTo>
                <a:cubicBezTo>
                  <a:pt x="0" y="14"/>
                  <a:pt x="0" y="13"/>
                  <a:pt x="1" y="13"/>
                </a:cubicBezTo>
                <a:cubicBezTo>
                  <a:pt x="43" y="0"/>
                  <a:pt x="43" y="0"/>
                  <a:pt x="43" y="0"/>
                </a:cubicBezTo>
                <a:cubicBezTo>
                  <a:pt x="43" y="0"/>
                  <a:pt x="43" y="0"/>
                  <a:pt x="43" y="0"/>
                </a:cubicBezTo>
                <a:cubicBezTo>
                  <a:pt x="44" y="0"/>
                  <a:pt x="44" y="0"/>
                  <a:pt x="44" y="0"/>
                </a:cubicBezTo>
                <a:cubicBezTo>
                  <a:pt x="86" y="13"/>
                  <a:pt x="86" y="13"/>
                  <a:pt x="86" y="13"/>
                </a:cubicBezTo>
                <a:cubicBezTo>
                  <a:pt x="87" y="13"/>
                  <a:pt x="87" y="14"/>
                  <a:pt x="87" y="14"/>
                </a:cubicBezTo>
                <a:cubicBezTo>
                  <a:pt x="87" y="15"/>
                  <a:pt x="87" y="15"/>
                  <a:pt x="86" y="15"/>
                </a:cubicBezTo>
                <a:close/>
                <a:moveTo>
                  <a:pt x="68" y="38"/>
                </a:moveTo>
                <a:cubicBezTo>
                  <a:pt x="68" y="44"/>
                  <a:pt x="57" y="48"/>
                  <a:pt x="43" y="48"/>
                </a:cubicBezTo>
                <a:cubicBezTo>
                  <a:pt x="30" y="48"/>
                  <a:pt x="19" y="44"/>
                  <a:pt x="19" y="38"/>
                </a:cubicBezTo>
                <a:cubicBezTo>
                  <a:pt x="20" y="26"/>
                  <a:pt x="20" y="26"/>
                  <a:pt x="20" y="26"/>
                </a:cubicBezTo>
                <a:cubicBezTo>
                  <a:pt x="42" y="33"/>
                  <a:pt x="42" y="33"/>
                  <a:pt x="42" y="33"/>
                </a:cubicBezTo>
                <a:cubicBezTo>
                  <a:pt x="42" y="33"/>
                  <a:pt x="43" y="34"/>
                  <a:pt x="43" y="34"/>
                </a:cubicBezTo>
                <a:cubicBezTo>
                  <a:pt x="44" y="34"/>
                  <a:pt x="45" y="33"/>
                  <a:pt x="45" y="33"/>
                </a:cubicBezTo>
                <a:cubicBezTo>
                  <a:pt x="67" y="26"/>
                  <a:pt x="67" y="26"/>
                  <a:pt x="67" y="26"/>
                </a:cubicBezTo>
                <a:lnTo>
                  <a:pt x="68" y="3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4024863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object 3"/>
          <p:cNvSpPr txBox="1"/>
          <p:nvPr/>
        </p:nvSpPr>
        <p:spPr>
          <a:xfrm>
            <a:off x="1634329" y="740483"/>
            <a:ext cx="1972014" cy="689926"/>
          </a:xfrm>
          <a:prstGeom prst="rect">
            <a:avLst/>
          </a:prstGeom>
        </p:spPr>
        <p:txBody>
          <a:bodyPr wrap="square" lIns="0" tIns="12694" rIns="0" bIns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3600" b="1" spc="-5" dirty="0" smtClean="0">
                <a:solidFill>
                  <a:srgbClr val="00B050"/>
                </a:solidFill>
                <a:ea typeface="Tahoma" pitchFamily="34" charset="0"/>
                <a:cs typeface="Arial" panose="020B0604020202020204" pitchFamily="34" charset="0"/>
              </a:rPr>
              <a:t>206 </a:t>
            </a:r>
            <a:r>
              <a:rPr sz="4400" b="1" spc="-1050" dirty="0" smtClean="0">
                <a:solidFill>
                  <a:srgbClr val="C00000"/>
                </a:solidFill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sz="1600" b="1" spc="-5" dirty="0" err="1">
                <a:solidFill>
                  <a:srgbClr val="00B050"/>
                </a:solidFill>
                <a:ea typeface="Tahoma" pitchFamily="34" charset="0"/>
                <a:cs typeface="Arial" panose="020B0604020202020204" pitchFamily="34" charset="0"/>
              </a:rPr>
              <a:t>млрд</a:t>
            </a:r>
            <a:r>
              <a:rPr lang="ru-RU" sz="1600" b="1" spc="-5" dirty="0">
                <a:solidFill>
                  <a:srgbClr val="00B050"/>
                </a:solidFill>
                <a:ea typeface="Tahoma" pitchFamily="34" charset="0"/>
                <a:cs typeface="Arial" panose="020B0604020202020204" pitchFamily="34" charset="0"/>
              </a:rPr>
              <a:t>.</a:t>
            </a:r>
            <a:r>
              <a:rPr lang="en-US" sz="1600" b="1" spc="-5" dirty="0">
                <a:solidFill>
                  <a:srgbClr val="00B050"/>
                </a:solidFill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sz="1600" b="1" spc="-5" dirty="0">
                <a:solidFill>
                  <a:srgbClr val="00B050"/>
                </a:solidFill>
                <a:ea typeface="Tahoma" pitchFamily="34" charset="0"/>
                <a:cs typeface="Arial" panose="020B0604020202020204" pitchFamily="34" charset="0"/>
              </a:rPr>
              <a:t>т</a:t>
            </a:r>
            <a:r>
              <a:rPr lang="ru-RU" sz="1600" b="1" spc="-5" dirty="0">
                <a:solidFill>
                  <a:srgbClr val="00B050"/>
                </a:solidFill>
                <a:ea typeface="Tahoma" pitchFamily="34" charset="0"/>
                <a:cs typeface="Arial" panose="020B0604020202020204" pitchFamily="34" charset="0"/>
              </a:rPr>
              <a:t>г</a:t>
            </a:r>
          </a:p>
        </p:txBody>
      </p:sp>
      <p:pic>
        <p:nvPicPr>
          <p:cNvPr id="30725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7569" y="960333"/>
            <a:ext cx="321894" cy="3218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object 10"/>
          <p:cNvSpPr txBox="1"/>
          <p:nvPr/>
        </p:nvSpPr>
        <p:spPr>
          <a:xfrm>
            <a:off x="6067259" y="777033"/>
            <a:ext cx="2517994" cy="616803"/>
          </a:xfrm>
          <a:prstGeom prst="rect">
            <a:avLst/>
          </a:prstGeom>
        </p:spPr>
        <p:txBody>
          <a:bodyPr wrap="square" lIns="0" tIns="62198" rIns="0" bIns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600" b="1" spc="-5" dirty="0">
                <a:solidFill>
                  <a:srgbClr val="00B050"/>
                </a:solidFill>
                <a:ea typeface="Tahoma" pitchFamily="34" charset="0"/>
                <a:cs typeface="Arial" panose="020B0604020202020204" pitchFamily="34" charset="0"/>
              </a:rPr>
              <a:t>2 </a:t>
            </a:r>
            <a:r>
              <a:rPr lang="kk-KZ" sz="3600" b="1" spc="-5" dirty="0" smtClean="0">
                <a:solidFill>
                  <a:srgbClr val="00B050"/>
                </a:solidFill>
                <a:ea typeface="Tahoma" pitchFamily="34" charset="0"/>
                <a:cs typeface="Arial" panose="020B0604020202020204" pitchFamily="34" charset="0"/>
              </a:rPr>
              <a:t>625 </a:t>
            </a:r>
            <a:r>
              <a:rPr lang="ru-RU" sz="1600" b="1" spc="-20" dirty="0" smtClean="0">
                <a:ea typeface="Tahoma" pitchFamily="34" charset="0"/>
                <a:cs typeface="Arial" panose="020B0604020202020204" pitchFamily="34" charset="0"/>
              </a:rPr>
              <a:t>ЖОБА</a:t>
            </a:r>
            <a:endParaRPr sz="1600" b="1" spc="-20" dirty="0">
              <a:ea typeface="Tahoma" pitchFamily="34" charset="0"/>
              <a:cs typeface="Arial" panose="020B0604020202020204" pitchFamily="34" charset="0"/>
            </a:endParaRPr>
          </a:p>
        </p:txBody>
      </p:sp>
      <p:pic>
        <p:nvPicPr>
          <p:cNvPr id="30731" name="Рисунок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2213" y="971166"/>
            <a:ext cx="317156" cy="3171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34" name="Прямоугольник 55"/>
          <p:cNvSpPr>
            <a:spLocks noChangeArrowheads="1"/>
          </p:cNvSpPr>
          <p:nvPr/>
        </p:nvSpPr>
        <p:spPr bwMode="auto">
          <a:xfrm>
            <a:off x="6641306" y="4115848"/>
            <a:ext cx="2184400" cy="3692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92" tIns="45696" rIns="91392" bIns="45696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algn="ctr" eaLnBrk="1" fontAlgn="ctr" hangingPunct="1"/>
            <a:r>
              <a:rPr lang="kk-KZ" altLang="en-US" sz="1800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кентішілік жолдар</a:t>
            </a:r>
            <a:endParaRPr lang="kk-KZ" altLang="en-US" sz="1800" dirty="0">
              <a:solidFill>
                <a:srgbClr val="0070C0"/>
              </a:solidFill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0735" name="Прямоугольник 56"/>
          <p:cNvSpPr>
            <a:spLocks noChangeArrowheads="1"/>
          </p:cNvSpPr>
          <p:nvPr/>
        </p:nvSpPr>
        <p:spPr bwMode="auto">
          <a:xfrm>
            <a:off x="359570" y="3937000"/>
            <a:ext cx="2370930" cy="984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392" tIns="45696" rIns="91392" bIns="45696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algn="ctr" eaLnBrk="1" fontAlgn="ctr" hangingPunct="1"/>
            <a:r>
              <a:rPr lang="kk-KZ" altLang="en-US" sz="1800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Инженерлік жүйелер </a:t>
            </a:r>
          </a:p>
          <a:p>
            <a:pPr algn="ctr" eaLnBrk="1" fontAlgn="ctr" hangingPunct="1"/>
            <a:r>
              <a:rPr lang="kk-KZ" altLang="en-US" sz="1100" i="1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(газ-, су-, электр-, </a:t>
            </a:r>
            <a:br>
              <a:rPr lang="kk-KZ" altLang="en-US" sz="1100" i="1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</a:br>
            <a:r>
              <a:rPr lang="kk-KZ" altLang="en-US" sz="1100" i="1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жылумен қамту</a:t>
            </a:r>
            <a:r>
              <a:rPr lang="ru-RU" altLang="en-US" sz="1100" i="1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)</a:t>
            </a:r>
            <a:endParaRPr lang="ru-RU" altLang="en-US" sz="1100" i="1" dirty="0">
              <a:solidFill>
                <a:srgbClr val="0070C0"/>
              </a:solidFill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61" name="Прямоугольник 60"/>
          <p:cNvSpPr/>
          <p:nvPr/>
        </p:nvSpPr>
        <p:spPr>
          <a:xfrm>
            <a:off x="6858000" y="3367091"/>
            <a:ext cx="1751012" cy="584727"/>
          </a:xfrm>
          <a:prstGeom prst="rect">
            <a:avLst/>
          </a:prstGeom>
        </p:spPr>
        <p:txBody>
          <a:bodyPr lIns="91394" tIns="45696" rIns="91394" bIns="45696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spc="-5" dirty="0">
                <a:solidFill>
                  <a:srgbClr val="00B050"/>
                </a:solidFill>
                <a:ea typeface="Tahoma" pitchFamily="34" charset="0"/>
                <a:cs typeface="Arial" panose="020B0604020202020204" pitchFamily="34" charset="0"/>
              </a:rPr>
              <a:t>3,6 </a:t>
            </a:r>
            <a:r>
              <a:rPr lang="kk-KZ" sz="1800" b="1" spc="-5" dirty="0" smtClean="0">
                <a:solidFill>
                  <a:srgbClr val="00B050"/>
                </a:solidFill>
                <a:ea typeface="Tahoma" pitchFamily="34" charset="0"/>
                <a:cs typeface="Arial" panose="020B0604020202020204" pitchFamily="34" charset="0"/>
              </a:rPr>
              <a:t>мың к</a:t>
            </a:r>
            <a:r>
              <a:rPr lang="ru-RU" sz="1800" b="1" spc="-5" dirty="0" smtClean="0">
                <a:solidFill>
                  <a:srgbClr val="00B050"/>
                </a:solidFill>
                <a:ea typeface="Tahoma" pitchFamily="34" charset="0"/>
                <a:cs typeface="Arial" panose="020B0604020202020204" pitchFamily="34" charset="0"/>
              </a:rPr>
              <a:t>м</a:t>
            </a:r>
            <a:endParaRPr lang="ru-RU" sz="1200" b="1" spc="-20" dirty="0">
              <a:solidFill>
                <a:srgbClr val="00B050"/>
              </a:solidFill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62" name="Прямоугольник 61"/>
          <p:cNvSpPr/>
          <p:nvPr/>
        </p:nvSpPr>
        <p:spPr>
          <a:xfrm>
            <a:off x="611164" y="3330580"/>
            <a:ext cx="1959662" cy="584727"/>
          </a:xfrm>
          <a:prstGeom prst="rect">
            <a:avLst/>
          </a:prstGeom>
        </p:spPr>
        <p:txBody>
          <a:bodyPr wrap="square" lIns="91394" tIns="45696" rIns="91394" bIns="45696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spc="-5" dirty="0">
                <a:solidFill>
                  <a:srgbClr val="00B050"/>
                </a:solidFill>
                <a:ea typeface="Tahoma" pitchFamily="34" charset="0"/>
                <a:cs typeface="Arial" panose="020B0604020202020204" pitchFamily="34" charset="0"/>
              </a:rPr>
              <a:t>2 009</a:t>
            </a:r>
            <a:r>
              <a:rPr lang="en-US" sz="3200" b="1" spc="-5" dirty="0">
                <a:solidFill>
                  <a:srgbClr val="00B050"/>
                </a:solidFill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1800" b="1" spc="-5" dirty="0">
                <a:solidFill>
                  <a:srgbClr val="00B050"/>
                </a:solidFill>
                <a:ea typeface="Tahoma" pitchFamily="34" charset="0"/>
                <a:cs typeface="Arial" panose="020B0604020202020204" pitchFamily="34" charset="0"/>
              </a:rPr>
              <a:t>км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3124796" y="3150246"/>
            <a:ext cx="3285725" cy="369330"/>
          </a:xfrm>
          <a:prstGeom prst="rect">
            <a:avLst/>
          </a:prstGeom>
        </p:spPr>
        <p:txBody>
          <a:bodyPr wrap="square" lIns="91392" tIns="45696" rIns="91392" bIns="45696">
            <a:spAutoFit/>
          </a:bodyPr>
          <a:lstStyle/>
          <a:p>
            <a:pPr eaLnBrk="1" fontAlgn="ctr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dirty="0" smtClean="0">
                <a:solidFill>
                  <a:srgbClr val="00B050"/>
                </a:solidFill>
                <a:ea typeface="Tahoma" panose="020B0604030504040204" pitchFamily="34" charset="0"/>
                <a:cs typeface="Arial" panose="020B0604020202020204" pitchFamily="34" charset="0"/>
              </a:rPr>
              <a:t>30</a:t>
            </a:r>
            <a:r>
              <a:rPr lang="ru-RU" sz="1800" b="1" dirty="0" smtClean="0">
                <a:solidFill>
                  <a:srgbClr val="00B050"/>
                </a:solidFill>
                <a:ea typeface="Tahoma" panose="020B0604030504040204" pitchFamily="34" charset="0"/>
                <a:cs typeface="Arial" panose="020B0604020202020204" pitchFamily="34" charset="0"/>
              </a:rPr>
              <a:t>4</a:t>
            </a:r>
            <a:r>
              <a:rPr lang="kk-KZ" sz="1800" b="1" dirty="0" smtClean="0">
                <a:solidFill>
                  <a:srgbClr val="00B050"/>
                </a:solidFill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kk-KZ" sz="1200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білім </a:t>
            </a:r>
            <a:r>
              <a:rPr lang="kk-KZ" sz="1200" i="1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(</a:t>
            </a:r>
            <a:r>
              <a:rPr lang="kk-KZ" sz="1000" i="1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балабақшалар, мектепт</a:t>
            </a:r>
            <a:r>
              <a:rPr lang="ru-RU" sz="1000" i="1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ер</a:t>
            </a:r>
            <a:r>
              <a:rPr lang="ru-RU" sz="1200" i="1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) </a:t>
            </a:r>
            <a:endParaRPr lang="ru-RU" sz="1200" i="1" dirty="0">
              <a:solidFill>
                <a:srgbClr val="0070C0"/>
              </a:solidFill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3118258" y="4005746"/>
            <a:ext cx="2928586" cy="523196"/>
          </a:xfrm>
          <a:prstGeom prst="rect">
            <a:avLst/>
          </a:prstGeom>
        </p:spPr>
        <p:txBody>
          <a:bodyPr wrap="square" lIns="91392" tIns="45696" rIns="91392" bIns="45696">
            <a:spAutoFit/>
          </a:bodyPr>
          <a:lstStyle/>
          <a:p>
            <a:pPr eaLnBrk="1" fontAlgn="ctr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1800" b="1" dirty="0" smtClean="0">
                <a:solidFill>
                  <a:srgbClr val="00B050"/>
                </a:solidFill>
                <a:ea typeface="Tahoma" panose="020B0604030504040204" pitchFamily="34" charset="0"/>
                <a:cs typeface="Arial" panose="020B0604020202020204" pitchFamily="34" charset="0"/>
              </a:rPr>
              <a:t>1</a:t>
            </a:r>
            <a:r>
              <a:rPr lang="en-US" sz="1800" b="1" dirty="0" smtClean="0">
                <a:solidFill>
                  <a:srgbClr val="00B050"/>
                </a:solidFill>
                <a:ea typeface="Tahoma" panose="020B0604030504040204" pitchFamily="34" charset="0"/>
                <a:cs typeface="Arial" panose="020B0604020202020204" pitchFamily="34" charset="0"/>
              </a:rPr>
              <a:t>4</a:t>
            </a:r>
            <a:r>
              <a:rPr lang="ru-RU" sz="1800" b="1" dirty="0" smtClean="0">
                <a:solidFill>
                  <a:srgbClr val="00B050"/>
                </a:solidFill>
                <a:ea typeface="Tahoma" panose="020B0604030504040204" pitchFamily="34" charset="0"/>
                <a:cs typeface="Arial" panose="020B0604020202020204" pitchFamily="34" charset="0"/>
              </a:rPr>
              <a:t>9</a:t>
            </a:r>
            <a:r>
              <a:rPr lang="kk-KZ" sz="1800" b="1" dirty="0" smtClean="0">
                <a:solidFill>
                  <a:srgbClr val="00B050"/>
                </a:solidFill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kk-KZ" sz="1200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мәдениет саласында </a:t>
            </a:r>
            <a:r>
              <a:rPr lang="kk-KZ" sz="1000" i="1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(клубтар, мәдениет үйлері,  кітапханалар</a:t>
            </a:r>
            <a:r>
              <a:rPr lang="ru-RU" sz="1000" i="1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)</a:t>
            </a:r>
            <a:endParaRPr lang="ru-RU" sz="1000" i="1" dirty="0">
              <a:solidFill>
                <a:srgbClr val="0070C0"/>
              </a:solidFill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0740" name="Прямоугольник 54"/>
          <p:cNvSpPr>
            <a:spLocks noChangeArrowheads="1"/>
          </p:cNvSpPr>
          <p:nvPr/>
        </p:nvSpPr>
        <p:spPr bwMode="auto">
          <a:xfrm>
            <a:off x="3118258" y="4520324"/>
            <a:ext cx="3065974" cy="523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392" tIns="45696" rIns="91392" bIns="45696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eaLnBrk="1" fontAlgn="ctr" hangingPunct="1"/>
            <a:r>
              <a:rPr lang="kk-KZ" altLang="en-US" sz="1800" b="1" dirty="0" smtClean="0">
                <a:solidFill>
                  <a:srgbClr val="00B050"/>
                </a:solidFill>
                <a:ea typeface="Tahoma" panose="020B0604030504040204" pitchFamily="34" charset="0"/>
                <a:cs typeface="Arial" panose="020B0604020202020204" pitchFamily="34" charset="0"/>
              </a:rPr>
              <a:t>1</a:t>
            </a:r>
            <a:r>
              <a:rPr lang="ru-RU" altLang="en-US" sz="1800" b="1" dirty="0" smtClean="0">
                <a:solidFill>
                  <a:srgbClr val="00B050"/>
                </a:solidFill>
                <a:ea typeface="Tahoma" panose="020B0604030504040204" pitchFamily="34" charset="0"/>
                <a:cs typeface="Arial" panose="020B0604020202020204" pitchFamily="34" charset="0"/>
              </a:rPr>
              <a:t>38</a:t>
            </a:r>
            <a:r>
              <a:rPr lang="ru-RU" altLang="en-US" sz="1800" b="1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kk-KZ" altLang="en-US" sz="1200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спорт саласында </a:t>
            </a:r>
            <a:r>
              <a:rPr lang="kk-KZ" altLang="en-US" sz="1000" i="1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(дене шынықтыру-сауықтыру  кешендері, спортзалдар</a:t>
            </a:r>
            <a:r>
              <a:rPr lang="ru-RU" altLang="en-US" sz="1000" i="1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) </a:t>
            </a:r>
            <a:endParaRPr lang="ru-RU" altLang="en-US" sz="1000" i="1" dirty="0">
              <a:solidFill>
                <a:srgbClr val="0070C0"/>
              </a:solidFill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63" name="Прямоугольник 62"/>
          <p:cNvSpPr/>
          <p:nvPr/>
        </p:nvSpPr>
        <p:spPr>
          <a:xfrm>
            <a:off x="3135986" y="3476801"/>
            <a:ext cx="2982707" cy="523196"/>
          </a:xfrm>
          <a:prstGeom prst="rect">
            <a:avLst/>
          </a:prstGeom>
        </p:spPr>
        <p:txBody>
          <a:bodyPr wrap="square" lIns="91392" tIns="45696" rIns="91392" bIns="45696">
            <a:spAutoFit/>
          </a:bodyPr>
          <a:lstStyle/>
          <a:p>
            <a:pPr eaLnBrk="1" fontAlgn="ctr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dirty="0" smtClean="0">
                <a:solidFill>
                  <a:srgbClr val="00B050"/>
                </a:solidFill>
                <a:ea typeface="Tahoma" panose="020B0604030504040204" pitchFamily="34" charset="0"/>
                <a:cs typeface="Arial" panose="020B0604020202020204" pitchFamily="34" charset="0"/>
              </a:rPr>
              <a:t>85</a:t>
            </a:r>
            <a:r>
              <a:rPr lang="kk-KZ" sz="1800" b="1" dirty="0" smtClean="0">
                <a:solidFill>
                  <a:srgbClr val="00B050"/>
                </a:solidFill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kk-KZ" sz="1200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денсаулық </a:t>
            </a:r>
            <a:r>
              <a:rPr lang="kk-KZ" sz="1000" i="1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(фельдшерлік пункттер, амбулаториялар, емханалар)</a:t>
            </a:r>
            <a:endParaRPr lang="kk-KZ" sz="1000" i="1" dirty="0">
              <a:solidFill>
                <a:srgbClr val="0070C0"/>
              </a:solidFill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8" name="Заголовок 1"/>
          <p:cNvSpPr txBox="1">
            <a:spLocks/>
          </p:cNvSpPr>
          <p:nvPr/>
        </p:nvSpPr>
        <p:spPr>
          <a:xfrm>
            <a:off x="-17033" y="30850"/>
            <a:ext cx="9144000" cy="455612"/>
          </a:xfrm>
          <a:prstGeom prst="rect">
            <a:avLst/>
          </a:prstGeom>
        </p:spPr>
        <p:txBody>
          <a:bodyPr lIns="91394" tIns="45696" rIns="91394" bIns="45696" anchor="ctr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algn="ctr" defTabSz="91391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u="sng" cap="small" dirty="0" smtClean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2019-2021 ЖЫЛДАРЫ </a:t>
            </a:r>
            <a:r>
              <a:rPr lang="ru-RU" sz="1800" b="1" cap="small" dirty="0" smtClean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АУЫЛ </a:t>
            </a:r>
            <a:r>
              <a:rPr lang="ru-RU" sz="1800" b="1" cap="small" dirty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– ЕЛ БЕСІГІ</a:t>
            </a:r>
            <a:r>
              <a:rPr lang="ru-RU" sz="1800" b="1" cap="small" dirty="0" smtClean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» ЖОБАСЫН ҚАРЖЫЛАНДЫРУ</a:t>
            </a:r>
            <a:endParaRPr lang="ru-RU" sz="1800" b="1" u="sng" cap="small" dirty="0">
              <a:solidFill>
                <a:srgbClr val="0070C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50" name="Straight Connector 32"/>
          <p:cNvCxnSpPr/>
          <p:nvPr/>
        </p:nvCxnSpPr>
        <p:spPr>
          <a:xfrm>
            <a:off x="0" y="533570"/>
            <a:ext cx="9144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: Rounded Corners 30">
            <a:extLst>
              <a:ext uri="{FF2B5EF4-FFF2-40B4-BE49-F238E27FC236}">
                <a16:creationId xmlns:a16="http://schemas.microsoft.com/office/drawing/2014/main" id="{818C01A5-1AB8-4F90-A143-A78D37141D2F}"/>
              </a:ext>
            </a:extLst>
          </p:cNvPr>
          <p:cNvSpPr/>
          <p:nvPr/>
        </p:nvSpPr>
        <p:spPr>
          <a:xfrm>
            <a:off x="903756" y="755025"/>
            <a:ext cx="2793766" cy="726750"/>
          </a:xfrm>
          <a:prstGeom prst="roundRect">
            <a:avLst>
              <a:gd name="adj" fmla="val 5173"/>
            </a:avLst>
          </a:prstGeom>
          <a:noFill/>
          <a:ln w="28575" cap="flat" cmpd="sng" algn="ctr">
            <a:solidFill>
              <a:srgbClr val="FBDD76"/>
            </a:solidFill>
            <a:prstDash val="solid"/>
            <a:miter lim="800000"/>
          </a:ln>
          <a:effectLst/>
        </p:spPr>
        <p:txBody>
          <a:bodyPr lIns="91394" tIns="45696" rIns="91394" bIns="45696" rtlCol="0" anchor="ctr"/>
          <a:lstStyle/>
          <a:p>
            <a:pPr algn="ctr" defTabSz="69021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800" kern="0">
              <a:solidFill>
                <a:prstClr val="white"/>
              </a:solidFill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57" name="Rectangle: Rounded Corners 30">
            <a:extLst>
              <a:ext uri="{FF2B5EF4-FFF2-40B4-BE49-F238E27FC236}">
                <a16:creationId xmlns:a16="http://schemas.microsoft.com/office/drawing/2014/main" id="{C84F0909-957D-490A-8F0F-33BD5DFFDE1C}"/>
              </a:ext>
            </a:extLst>
          </p:cNvPr>
          <p:cNvSpPr/>
          <p:nvPr/>
        </p:nvSpPr>
        <p:spPr>
          <a:xfrm>
            <a:off x="5324273" y="755025"/>
            <a:ext cx="3424136" cy="726750"/>
          </a:xfrm>
          <a:prstGeom prst="roundRect">
            <a:avLst>
              <a:gd name="adj" fmla="val 5173"/>
            </a:avLst>
          </a:prstGeom>
          <a:noFill/>
          <a:ln w="28575" cap="flat" cmpd="sng" algn="ctr">
            <a:solidFill>
              <a:srgbClr val="FBDD76"/>
            </a:solidFill>
            <a:prstDash val="solid"/>
            <a:miter lim="800000"/>
          </a:ln>
          <a:effectLst/>
        </p:spPr>
        <p:txBody>
          <a:bodyPr lIns="91394" tIns="45696" rIns="91394" bIns="45696" rtlCol="0" anchor="ctr"/>
          <a:lstStyle/>
          <a:p>
            <a:pPr algn="ctr" defTabSz="69021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800" kern="0">
              <a:solidFill>
                <a:prstClr val="white"/>
              </a:solidFill>
              <a:ea typeface="ＭＳ Ｐゴシック"/>
              <a:cs typeface="Arial" panose="020B0604020202020204" pitchFamily="34" charset="0"/>
            </a:endParaRPr>
          </a:p>
        </p:txBody>
      </p:sp>
      <p:grpSp>
        <p:nvGrpSpPr>
          <p:cNvPr id="58" name="Группа 99">
            <a:extLst>
              <a:ext uri="{FF2B5EF4-FFF2-40B4-BE49-F238E27FC236}">
                <a16:creationId xmlns:a16="http://schemas.microsoft.com/office/drawing/2014/main" id="{99B987EE-E82F-4208-8C26-B26FDE7AA050}"/>
              </a:ext>
            </a:extLst>
          </p:cNvPr>
          <p:cNvGrpSpPr>
            <a:grpSpLocks/>
          </p:cNvGrpSpPr>
          <p:nvPr/>
        </p:nvGrpSpPr>
        <p:grpSpPr bwMode="auto">
          <a:xfrm rot="10800000" flipH="1">
            <a:off x="4214553" y="850113"/>
            <a:ext cx="225955" cy="557110"/>
            <a:chOff x="5048874" y="1509126"/>
            <a:chExt cx="459230" cy="630576"/>
          </a:xfrm>
        </p:grpSpPr>
        <p:sp>
          <p:nvSpPr>
            <p:cNvPr id="64" name="Chevron2">
              <a:extLst>
                <a:ext uri="{FF2B5EF4-FFF2-40B4-BE49-F238E27FC236}">
                  <a16:creationId xmlns:a16="http://schemas.microsoft.com/office/drawing/2014/main" id="{5037FA63-6F93-40E7-A557-B189F98E3A6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46806" y="1548303"/>
              <a:ext cx="244095" cy="55222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65BD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391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 dirty="0" err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sp>
          <p:nvSpPr>
            <p:cNvPr id="65" name="Chevron2">
              <a:extLst>
                <a:ext uri="{FF2B5EF4-FFF2-40B4-BE49-F238E27FC236}">
                  <a16:creationId xmlns:a16="http://schemas.microsoft.com/office/drawing/2014/main" id="{DE22FB06-6EFA-4657-957B-AECA816643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04020" y="1509126"/>
              <a:ext cx="279261" cy="630576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A6A6A6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391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 dirty="0" err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</p:grpSp>
      <p:sp>
        <p:nvSpPr>
          <p:cNvPr id="70" name="Oval 118">
            <a:extLst>
              <a:ext uri="{FF2B5EF4-FFF2-40B4-BE49-F238E27FC236}">
                <a16:creationId xmlns:a16="http://schemas.microsoft.com/office/drawing/2014/main" id="{338A1E5A-F3B8-4324-9954-011CCBDFF58E}"/>
              </a:ext>
            </a:extLst>
          </p:cNvPr>
          <p:cNvSpPr/>
          <p:nvPr/>
        </p:nvSpPr>
        <p:spPr>
          <a:xfrm>
            <a:off x="970578" y="853983"/>
            <a:ext cx="525355" cy="528834"/>
          </a:xfrm>
          <a:prstGeom prst="ellipse">
            <a:avLst/>
          </a:prstGeom>
          <a:noFill/>
          <a:ln w="28575" cap="flat" cmpd="sng" algn="ctr">
            <a:solidFill>
              <a:srgbClr val="FBDD76"/>
            </a:solidFill>
            <a:prstDash val="solid"/>
            <a:miter lim="800000"/>
          </a:ln>
          <a:effectLst/>
        </p:spPr>
        <p:txBody>
          <a:bodyPr lIns="91394" tIns="45696" rIns="91394" bIns="45696" rtlCol="0" anchor="ctr"/>
          <a:lstStyle/>
          <a:p>
            <a:pPr algn="ctr" defTabSz="69021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800" kern="0" dirty="0" err="1">
              <a:solidFill>
                <a:prstClr val="white"/>
              </a:solidFill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79" name="Oval 118">
            <a:extLst>
              <a:ext uri="{FF2B5EF4-FFF2-40B4-BE49-F238E27FC236}">
                <a16:creationId xmlns:a16="http://schemas.microsoft.com/office/drawing/2014/main" id="{CCF28853-CC61-4315-AEF2-01499BA8DACA}"/>
              </a:ext>
            </a:extLst>
          </p:cNvPr>
          <p:cNvSpPr/>
          <p:nvPr/>
        </p:nvSpPr>
        <p:spPr>
          <a:xfrm>
            <a:off x="5478120" y="846073"/>
            <a:ext cx="525355" cy="528834"/>
          </a:xfrm>
          <a:prstGeom prst="ellipse">
            <a:avLst/>
          </a:prstGeom>
          <a:noFill/>
          <a:ln w="28575" cap="flat" cmpd="sng" algn="ctr">
            <a:solidFill>
              <a:srgbClr val="FBDD76"/>
            </a:solidFill>
            <a:prstDash val="solid"/>
            <a:miter lim="800000"/>
          </a:ln>
          <a:effectLst/>
        </p:spPr>
        <p:txBody>
          <a:bodyPr lIns="91394" tIns="45696" rIns="91394" bIns="45696" rtlCol="0" anchor="ctr"/>
          <a:lstStyle/>
          <a:p>
            <a:pPr algn="ctr" defTabSz="69021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800" kern="0" dirty="0" err="1">
              <a:solidFill>
                <a:prstClr val="white"/>
              </a:solidFill>
              <a:ea typeface="ＭＳ Ｐゴシック"/>
              <a:cs typeface="Arial" panose="020B0604020202020204" pitchFamily="34" charset="0"/>
            </a:endParaRPr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F3FD75E8-4121-4757-97AB-E39592337217}"/>
              </a:ext>
            </a:extLst>
          </p:cNvPr>
          <p:cNvCxnSpPr>
            <a:cxnSpLocks/>
          </p:cNvCxnSpPr>
          <p:nvPr/>
        </p:nvCxnSpPr>
        <p:spPr>
          <a:xfrm>
            <a:off x="2832" y="1781264"/>
            <a:ext cx="9141169" cy="0"/>
          </a:xfrm>
          <a:prstGeom prst="line">
            <a:avLst/>
          </a:prstGeom>
          <a:ln w="6350">
            <a:solidFill>
              <a:srgbClr val="7F7F7F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TextBox 86">
            <a:extLst>
              <a:ext uri="{FF2B5EF4-FFF2-40B4-BE49-F238E27FC236}">
                <a16:creationId xmlns:a16="http://schemas.microsoft.com/office/drawing/2014/main" id="{657EA657-0187-4F89-A362-BF31902497A3}"/>
              </a:ext>
            </a:extLst>
          </p:cNvPr>
          <p:cNvSpPr txBox="1">
            <a:spLocks/>
          </p:cNvSpPr>
          <p:nvPr/>
        </p:nvSpPr>
        <p:spPr>
          <a:xfrm>
            <a:off x="6231476" y="1870937"/>
            <a:ext cx="2823494" cy="1162322"/>
          </a:xfrm>
          <a:prstGeom prst="roundRect">
            <a:avLst>
              <a:gd name="adj" fmla="val 4810"/>
            </a:avLst>
          </a:prstGeom>
          <a:solidFill>
            <a:srgbClr val="C9F0FF"/>
          </a:solidFill>
          <a:ln>
            <a:noFill/>
          </a:ln>
        </p:spPr>
        <p:txBody>
          <a:bodyPr vert="vert" wrap="square" lIns="41301" tIns="702129" rIns="41306" bIns="41306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bg1"/>
              </a:buClr>
              <a:defRPr sz="2000" b="1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defTabSz="671171">
              <a:buClr>
                <a:srgbClr val="FFFFFF"/>
              </a:buClr>
              <a:defRPr/>
            </a:pPr>
            <a:endParaRPr lang="ru-RU" sz="800" b="0" dirty="0">
              <a:solidFill>
                <a:srgbClr val="FFFFFF"/>
              </a:solidFill>
              <a:latin typeface="Arial" panose="020B0604020202020204" pitchFamily="34" charset="0"/>
              <a:ea typeface="ＭＳ Ｐゴシック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47A97053-FDD0-4669-9E71-89D2461C4378}"/>
              </a:ext>
            </a:extLst>
          </p:cNvPr>
          <p:cNvSpPr txBox="1">
            <a:spLocks/>
          </p:cNvSpPr>
          <p:nvPr/>
        </p:nvSpPr>
        <p:spPr>
          <a:xfrm>
            <a:off x="3177572" y="1870937"/>
            <a:ext cx="2823494" cy="1162322"/>
          </a:xfrm>
          <a:prstGeom prst="roundRect">
            <a:avLst>
              <a:gd name="adj" fmla="val 4810"/>
            </a:avLst>
          </a:prstGeom>
          <a:solidFill>
            <a:srgbClr val="C9F0FF"/>
          </a:solidFill>
          <a:ln>
            <a:noFill/>
          </a:ln>
        </p:spPr>
        <p:txBody>
          <a:bodyPr vert="vert" wrap="square" lIns="41301" tIns="702129" rIns="41306" bIns="41306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bg1"/>
              </a:buClr>
              <a:defRPr sz="2000" b="1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defTabSz="671171">
              <a:buClr>
                <a:srgbClr val="FFFFFF"/>
              </a:buClr>
              <a:defRPr/>
            </a:pPr>
            <a:endParaRPr lang="ru-RU" sz="800" b="0" dirty="0">
              <a:solidFill>
                <a:srgbClr val="FFFFFF"/>
              </a:solidFill>
              <a:latin typeface="Arial" panose="020B0604020202020204" pitchFamily="34" charset="0"/>
              <a:ea typeface="ＭＳ Ｐゴシック"/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BFA63B01-F0E6-4F28-9B2F-32BA9C60AEF1}"/>
              </a:ext>
            </a:extLst>
          </p:cNvPr>
          <p:cNvSpPr txBox="1">
            <a:spLocks/>
          </p:cNvSpPr>
          <p:nvPr/>
        </p:nvSpPr>
        <p:spPr>
          <a:xfrm>
            <a:off x="123667" y="1856700"/>
            <a:ext cx="2823494" cy="1162322"/>
          </a:xfrm>
          <a:prstGeom prst="roundRect">
            <a:avLst>
              <a:gd name="adj" fmla="val 4810"/>
            </a:avLst>
          </a:prstGeom>
          <a:solidFill>
            <a:srgbClr val="C9F0FF"/>
          </a:solidFill>
          <a:ln>
            <a:noFill/>
          </a:ln>
        </p:spPr>
        <p:txBody>
          <a:bodyPr vert="vert" wrap="square" lIns="41301" tIns="702129" rIns="41306" bIns="41306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bg1"/>
              </a:buClr>
              <a:defRPr sz="2000" b="1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defTabSz="671171">
              <a:buClr>
                <a:srgbClr val="FFFFFF"/>
              </a:buClr>
              <a:defRPr/>
            </a:pPr>
            <a:endParaRPr lang="ru-RU" sz="800" b="0" dirty="0">
              <a:solidFill>
                <a:srgbClr val="FFFFFF"/>
              </a:solidFill>
              <a:latin typeface="Arial" panose="020B0604020202020204" pitchFamily="34" charset="0"/>
              <a:ea typeface="ＭＳ Ｐゴシック"/>
            </a:endParaRPr>
          </a:p>
        </p:txBody>
      </p:sp>
      <p:sp>
        <p:nvSpPr>
          <p:cNvPr id="93" name="Oval 118">
            <a:extLst>
              <a:ext uri="{FF2B5EF4-FFF2-40B4-BE49-F238E27FC236}">
                <a16:creationId xmlns:a16="http://schemas.microsoft.com/office/drawing/2014/main" id="{9805A564-9D9B-403A-81DA-AF82FF93AAC8}"/>
              </a:ext>
            </a:extLst>
          </p:cNvPr>
          <p:cNvSpPr/>
          <p:nvPr/>
        </p:nvSpPr>
        <p:spPr>
          <a:xfrm>
            <a:off x="253842" y="2167232"/>
            <a:ext cx="530406" cy="533920"/>
          </a:xfrm>
          <a:prstGeom prst="ellipse">
            <a:avLst/>
          </a:prstGeom>
          <a:solidFill>
            <a:srgbClr val="FFFFFF"/>
          </a:solidFill>
          <a:ln w="28575" cap="flat" cmpd="sng" algn="ctr">
            <a:solidFill>
              <a:srgbClr val="F9C61B"/>
            </a:solidFill>
            <a:prstDash val="solid"/>
          </a:ln>
          <a:effectLst/>
        </p:spPr>
        <p:txBody>
          <a:bodyPr lIns="68546" tIns="34272" rIns="68546" bIns="34272" rtlCol="0" anchor="ctr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endParaRPr lang="ru-RU" kern="0" dirty="0" err="1">
              <a:solidFill>
                <a:srgbClr val="FFFFFF"/>
              </a:solidFill>
              <a:ea typeface="ＭＳ Ｐゴシック"/>
            </a:endParaRPr>
          </a:p>
        </p:txBody>
      </p:sp>
      <p:sp>
        <p:nvSpPr>
          <p:cNvPr id="94" name="Oval 118">
            <a:extLst>
              <a:ext uri="{FF2B5EF4-FFF2-40B4-BE49-F238E27FC236}">
                <a16:creationId xmlns:a16="http://schemas.microsoft.com/office/drawing/2014/main" id="{165AA367-2EFC-48CD-961C-3240954440D2}"/>
              </a:ext>
            </a:extLst>
          </p:cNvPr>
          <p:cNvSpPr/>
          <p:nvPr/>
        </p:nvSpPr>
        <p:spPr>
          <a:xfrm>
            <a:off x="3331349" y="2174702"/>
            <a:ext cx="530406" cy="533920"/>
          </a:xfrm>
          <a:prstGeom prst="ellipse">
            <a:avLst/>
          </a:prstGeom>
          <a:solidFill>
            <a:srgbClr val="FFFFFF"/>
          </a:solidFill>
          <a:ln w="28575" cap="flat" cmpd="sng" algn="ctr">
            <a:solidFill>
              <a:srgbClr val="F9C61B"/>
            </a:solidFill>
            <a:prstDash val="solid"/>
          </a:ln>
          <a:effectLst/>
        </p:spPr>
        <p:txBody>
          <a:bodyPr lIns="68546" tIns="34272" rIns="68546" bIns="34272" rtlCol="0" anchor="ctr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endParaRPr lang="ru-RU" kern="0" dirty="0" err="1">
              <a:solidFill>
                <a:srgbClr val="FFFFFF"/>
              </a:solidFill>
              <a:ea typeface="ＭＳ Ｐゴシック"/>
            </a:endParaRPr>
          </a:p>
        </p:txBody>
      </p:sp>
      <p:sp>
        <p:nvSpPr>
          <p:cNvPr id="95" name="Oval 118">
            <a:extLst>
              <a:ext uri="{FF2B5EF4-FFF2-40B4-BE49-F238E27FC236}">
                <a16:creationId xmlns:a16="http://schemas.microsoft.com/office/drawing/2014/main" id="{66351A7B-26DB-405D-83E2-A980D980C9ED}"/>
              </a:ext>
            </a:extLst>
          </p:cNvPr>
          <p:cNvSpPr/>
          <p:nvPr/>
        </p:nvSpPr>
        <p:spPr>
          <a:xfrm>
            <a:off x="6382392" y="2177189"/>
            <a:ext cx="530406" cy="533920"/>
          </a:xfrm>
          <a:prstGeom prst="ellipse">
            <a:avLst/>
          </a:prstGeom>
          <a:solidFill>
            <a:srgbClr val="FFFFFF"/>
          </a:solidFill>
          <a:ln w="28575" cap="flat" cmpd="sng" algn="ctr">
            <a:solidFill>
              <a:srgbClr val="F9C61B"/>
            </a:solidFill>
            <a:prstDash val="solid"/>
          </a:ln>
          <a:effectLst/>
        </p:spPr>
        <p:txBody>
          <a:bodyPr lIns="68546" tIns="34272" rIns="68546" bIns="34272" rtlCol="0" anchor="ctr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endParaRPr lang="ru-RU" kern="0" dirty="0" err="1">
              <a:solidFill>
                <a:srgbClr val="FFFFFF"/>
              </a:solidFill>
              <a:ea typeface="ＭＳ Ｐゴシック"/>
            </a:endParaRPr>
          </a:p>
        </p:txBody>
      </p:sp>
      <p:grpSp>
        <p:nvGrpSpPr>
          <p:cNvPr id="99" name="Group 98">
            <a:extLst>
              <a:ext uri="{FF2B5EF4-FFF2-40B4-BE49-F238E27FC236}">
                <a16:creationId xmlns:a16="http://schemas.microsoft.com/office/drawing/2014/main" id="{68863896-BEF9-447D-9713-2004C8F82387}"/>
              </a:ext>
            </a:extLst>
          </p:cNvPr>
          <p:cNvGrpSpPr/>
          <p:nvPr/>
        </p:nvGrpSpPr>
        <p:grpSpPr>
          <a:xfrm rot="5400000">
            <a:off x="1508408" y="1752911"/>
            <a:ext cx="59232" cy="2761124"/>
            <a:chOff x="7054264" y="980441"/>
            <a:chExt cx="190288" cy="4020530"/>
          </a:xfrm>
        </p:grpSpPr>
        <p:cxnSp>
          <p:nvCxnSpPr>
            <p:cNvPr id="100" name="Google Shape;276;p4">
              <a:extLst>
                <a:ext uri="{FF2B5EF4-FFF2-40B4-BE49-F238E27FC236}">
                  <a16:creationId xmlns:a16="http://schemas.microsoft.com/office/drawing/2014/main" id="{7E01BEEA-2B8A-48B1-B391-A292E8352A90}"/>
                </a:ext>
              </a:extLst>
            </p:cNvPr>
            <p:cNvCxnSpPr>
              <a:cxnSpLocks/>
            </p:cNvCxnSpPr>
            <p:nvPr/>
          </p:nvCxnSpPr>
          <p:spPr>
            <a:xfrm>
              <a:off x="7133240" y="980441"/>
              <a:ext cx="0" cy="4020530"/>
            </a:xfrm>
            <a:prstGeom prst="straightConnector1">
              <a:avLst/>
            </a:pr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</p:cxnSp>
        <p:grpSp>
          <p:nvGrpSpPr>
            <p:cNvPr id="101" name="Google Shape;277;p4">
              <a:extLst>
                <a:ext uri="{FF2B5EF4-FFF2-40B4-BE49-F238E27FC236}">
                  <a16:creationId xmlns:a16="http://schemas.microsoft.com/office/drawing/2014/main" id="{13B818BC-6FE1-48A0-9BEF-AE18CA5E4C42}"/>
                </a:ext>
              </a:extLst>
            </p:cNvPr>
            <p:cNvGrpSpPr/>
            <p:nvPr/>
          </p:nvGrpSpPr>
          <p:grpSpPr>
            <a:xfrm>
              <a:off x="7054264" y="2595983"/>
              <a:ext cx="190288" cy="789446"/>
              <a:chOff x="6801474" y="1968366"/>
              <a:chExt cx="245504" cy="802802"/>
            </a:xfrm>
          </p:grpSpPr>
          <p:sp>
            <p:nvSpPr>
              <p:cNvPr id="102" name="Google Shape;278;p4">
                <a:extLst>
                  <a:ext uri="{FF2B5EF4-FFF2-40B4-BE49-F238E27FC236}">
                    <a16:creationId xmlns:a16="http://schemas.microsoft.com/office/drawing/2014/main" id="{C2F82B3F-4BC9-477F-9B8E-19533DCA5E9F}"/>
                  </a:ext>
                </a:extLst>
              </p:cNvPr>
              <p:cNvSpPr/>
              <p:nvPr/>
            </p:nvSpPr>
            <p:spPr>
              <a:xfrm>
                <a:off x="6846057" y="1968366"/>
                <a:ext cx="156341" cy="802802"/>
              </a:xfrm>
              <a:prstGeom prst="rect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grpSp>
            <p:nvGrpSpPr>
              <p:cNvPr id="103" name="Google Shape;279;p4">
                <a:extLst>
                  <a:ext uri="{FF2B5EF4-FFF2-40B4-BE49-F238E27FC236}">
                    <a16:creationId xmlns:a16="http://schemas.microsoft.com/office/drawing/2014/main" id="{D65C39A5-E049-4DB6-A65F-D0E4EFAC694A}"/>
                  </a:ext>
                </a:extLst>
              </p:cNvPr>
              <p:cNvGrpSpPr/>
              <p:nvPr/>
            </p:nvGrpSpPr>
            <p:grpSpPr>
              <a:xfrm>
                <a:off x="6801474" y="2095154"/>
                <a:ext cx="245504" cy="549228"/>
                <a:chOff x="6191200" y="3238500"/>
                <a:chExt cx="681225" cy="1524000"/>
              </a:xfrm>
            </p:grpSpPr>
            <p:sp>
              <p:nvSpPr>
                <p:cNvPr id="104" name="Google Shape;280;p4">
                  <a:extLst>
                    <a:ext uri="{FF2B5EF4-FFF2-40B4-BE49-F238E27FC236}">
                      <a16:creationId xmlns:a16="http://schemas.microsoft.com/office/drawing/2014/main" id="{39008FE6-9574-4538-B66E-6BF267DAB9EA}"/>
                    </a:ext>
                  </a:extLst>
                </p:cNvPr>
                <p:cNvSpPr/>
                <p:nvPr/>
              </p:nvSpPr>
              <p:spPr>
                <a:xfrm>
                  <a:off x="6191200" y="3238500"/>
                  <a:ext cx="438150" cy="15240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60501" h="5080001" extrusionOk="0">
                      <a:moveTo>
                        <a:pt x="0" y="0"/>
                      </a:moveTo>
                      <a:lnTo>
                        <a:pt x="1460500" y="2540000"/>
                      </a:lnTo>
                      <a:lnTo>
                        <a:pt x="0" y="5080000"/>
                      </a:lnTo>
                    </a:path>
                  </a:pathLst>
                </a:custGeom>
                <a:noFill/>
                <a:ln w="9525" cap="rnd" cmpd="sng">
                  <a:solidFill>
                    <a:srgbClr val="85C6FF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algn="ctr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05" name="Google Shape;281;p4">
                  <a:extLst>
                    <a:ext uri="{FF2B5EF4-FFF2-40B4-BE49-F238E27FC236}">
                      <a16:creationId xmlns:a16="http://schemas.microsoft.com/office/drawing/2014/main" id="{459B9880-5D71-4B0D-B7B6-0E77A5B2C7DC}"/>
                    </a:ext>
                  </a:extLst>
                </p:cNvPr>
                <p:cNvSpPr/>
                <p:nvPr/>
              </p:nvSpPr>
              <p:spPr>
                <a:xfrm>
                  <a:off x="6434275" y="3238500"/>
                  <a:ext cx="438150" cy="15240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60501" h="5080001" extrusionOk="0">
                      <a:moveTo>
                        <a:pt x="0" y="0"/>
                      </a:moveTo>
                      <a:lnTo>
                        <a:pt x="1460500" y="2540000"/>
                      </a:lnTo>
                      <a:lnTo>
                        <a:pt x="0" y="5080000"/>
                      </a:lnTo>
                    </a:path>
                  </a:pathLst>
                </a:custGeom>
                <a:noFill/>
                <a:ln w="9525" cap="rnd" cmpd="sng">
                  <a:solidFill>
                    <a:schemeClr val="accent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algn="ctr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</p:grpSp>
        </p:grp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33113829-A6B7-456B-939C-3363415612E2}"/>
              </a:ext>
            </a:extLst>
          </p:cNvPr>
          <p:cNvGrpSpPr/>
          <p:nvPr/>
        </p:nvGrpSpPr>
        <p:grpSpPr>
          <a:xfrm rot="5400000">
            <a:off x="4542384" y="1752911"/>
            <a:ext cx="59232" cy="2761124"/>
            <a:chOff x="7054264" y="980441"/>
            <a:chExt cx="190288" cy="4020530"/>
          </a:xfrm>
        </p:grpSpPr>
        <p:cxnSp>
          <p:nvCxnSpPr>
            <p:cNvPr id="107" name="Google Shape;276;p4">
              <a:extLst>
                <a:ext uri="{FF2B5EF4-FFF2-40B4-BE49-F238E27FC236}">
                  <a16:creationId xmlns:a16="http://schemas.microsoft.com/office/drawing/2014/main" id="{7C7346F6-F586-4FA2-930A-197C09D193D9}"/>
                </a:ext>
              </a:extLst>
            </p:cNvPr>
            <p:cNvCxnSpPr>
              <a:cxnSpLocks/>
            </p:cNvCxnSpPr>
            <p:nvPr/>
          </p:nvCxnSpPr>
          <p:spPr>
            <a:xfrm>
              <a:off x="7133240" y="980441"/>
              <a:ext cx="0" cy="4020530"/>
            </a:xfrm>
            <a:prstGeom prst="straightConnector1">
              <a:avLst/>
            </a:pr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</p:cxnSp>
        <p:grpSp>
          <p:nvGrpSpPr>
            <p:cNvPr id="108" name="Google Shape;277;p4">
              <a:extLst>
                <a:ext uri="{FF2B5EF4-FFF2-40B4-BE49-F238E27FC236}">
                  <a16:creationId xmlns:a16="http://schemas.microsoft.com/office/drawing/2014/main" id="{B41FAE34-484D-419B-92A9-793B746F500F}"/>
                </a:ext>
              </a:extLst>
            </p:cNvPr>
            <p:cNvGrpSpPr/>
            <p:nvPr/>
          </p:nvGrpSpPr>
          <p:grpSpPr>
            <a:xfrm>
              <a:off x="7054264" y="2595983"/>
              <a:ext cx="190288" cy="789446"/>
              <a:chOff x="6801474" y="1968366"/>
              <a:chExt cx="245504" cy="802802"/>
            </a:xfrm>
          </p:grpSpPr>
          <p:sp>
            <p:nvSpPr>
              <p:cNvPr id="109" name="Google Shape;278;p4">
                <a:extLst>
                  <a:ext uri="{FF2B5EF4-FFF2-40B4-BE49-F238E27FC236}">
                    <a16:creationId xmlns:a16="http://schemas.microsoft.com/office/drawing/2014/main" id="{B478D4D5-D09A-45ED-A1FE-47DEA0547D24}"/>
                  </a:ext>
                </a:extLst>
              </p:cNvPr>
              <p:cNvSpPr/>
              <p:nvPr/>
            </p:nvSpPr>
            <p:spPr>
              <a:xfrm>
                <a:off x="6846057" y="1968366"/>
                <a:ext cx="156341" cy="802802"/>
              </a:xfrm>
              <a:prstGeom prst="rect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grpSp>
            <p:nvGrpSpPr>
              <p:cNvPr id="110" name="Google Shape;279;p4">
                <a:extLst>
                  <a:ext uri="{FF2B5EF4-FFF2-40B4-BE49-F238E27FC236}">
                    <a16:creationId xmlns:a16="http://schemas.microsoft.com/office/drawing/2014/main" id="{89B993C8-B5C4-4C79-8D1D-8653072E4D01}"/>
                  </a:ext>
                </a:extLst>
              </p:cNvPr>
              <p:cNvGrpSpPr/>
              <p:nvPr/>
            </p:nvGrpSpPr>
            <p:grpSpPr>
              <a:xfrm>
                <a:off x="6801474" y="2095154"/>
                <a:ext cx="245504" cy="549228"/>
                <a:chOff x="6191200" y="3238500"/>
                <a:chExt cx="681225" cy="1524000"/>
              </a:xfrm>
            </p:grpSpPr>
            <p:sp>
              <p:nvSpPr>
                <p:cNvPr id="111" name="Google Shape;280;p4">
                  <a:extLst>
                    <a:ext uri="{FF2B5EF4-FFF2-40B4-BE49-F238E27FC236}">
                      <a16:creationId xmlns:a16="http://schemas.microsoft.com/office/drawing/2014/main" id="{AD09F118-71A1-4310-85D6-93160D2DED7D}"/>
                    </a:ext>
                  </a:extLst>
                </p:cNvPr>
                <p:cNvSpPr/>
                <p:nvPr/>
              </p:nvSpPr>
              <p:spPr>
                <a:xfrm>
                  <a:off x="6191200" y="3238500"/>
                  <a:ext cx="438150" cy="15240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60501" h="5080001" extrusionOk="0">
                      <a:moveTo>
                        <a:pt x="0" y="0"/>
                      </a:moveTo>
                      <a:lnTo>
                        <a:pt x="1460500" y="2540000"/>
                      </a:lnTo>
                      <a:lnTo>
                        <a:pt x="0" y="5080000"/>
                      </a:lnTo>
                    </a:path>
                  </a:pathLst>
                </a:custGeom>
                <a:noFill/>
                <a:ln w="9525" cap="rnd" cmpd="sng">
                  <a:solidFill>
                    <a:srgbClr val="85C6FF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algn="ctr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12" name="Google Shape;281;p4">
                  <a:extLst>
                    <a:ext uri="{FF2B5EF4-FFF2-40B4-BE49-F238E27FC236}">
                      <a16:creationId xmlns:a16="http://schemas.microsoft.com/office/drawing/2014/main" id="{25A58B60-2595-4C37-A1BE-C696F6774A85}"/>
                    </a:ext>
                  </a:extLst>
                </p:cNvPr>
                <p:cNvSpPr/>
                <p:nvPr/>
              </p:nvSpPr>
              <p:spPr>
                <a:xfrm>
                  <a:off x="6434275" y="3238500"/>
                  <a:ext cx="438150" cy="15240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60501" h="5080001" extrusionOk="0">
                      <a:moveTo>
                        <a:pt x="0" y="0"/>
                      </a:moveTo>
                      <a:lnTo>
                        <a:pt x="1460500" y="2540000"/>
                      </a:lnTo>
                      <a:lnTo>
                        <a:pt x="0" y="5080000"/>
                      </a:lnTo>
                    </a:path>
                  </a:pathLst>
                </a:custGeom>
                <a:noFill/>
                <a:ln w="9525" cap="rnd" cmpd="sng">
                  <a:solidFill>
                    <a:schemeClr val="accent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algn="ctr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</p:grpSp>
        </p:grp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16F6871C-4F4E-4D54-AEC4-A9EC3C601A40}"/>
              </a:ext>
            </a:extLst>
          </p:cNvPr>
          <p:cNvGrpSpPr/>
          <p:nvPr/>
        </p:nvGrpSpPr>
        <p:grpSpPr>
          <a:xfrm rot="5400000">
            <a:off x="7613607" y="1752911"/>
            <a:ext cx="59232" cy="2761124"/>
            <a:chOff x="7054264" y="980441"/>
            <a:chExt cx="190288" cy="4020530"/>
          </a:xfrm>
        </p:grpSpPr>
        <p:cxnSp>
          <p:nvCxnSpPr>
            <p:cNvPr id="114" name="Google Shape;276;p4">
              <a:extLst>
                <a:ext uri="{FF2B5EF4-FFF2-40B4-BE49-F238E27FC236}">
                  <a16:creationId xmlns:a16="http://schemas.microsoft.com/office/drawing/2014/main" id="{42DDB7F0-6555-44E5-B722-25F2A99AB636}"/>
                </a:ext>
              </a:extLst>
            </p:cNvPr>
            <p:cNvCxnSpPr>
              <a:cxnSpLocks/>
            </p:cNvCxnSpPr>
            <p:nvPr/>
          </p:nvCxnSpPr>
          <p:spPr>
            <a:xfrm>
              <a:off x="7133240" y="980441"/>
              <a:ext cx="0" cy="4020530"/>
            </a:xfrm>
            <a:prstGeom prst="straightConnector1">
              <a:avLst/>
            </a:pr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</p:cxnSp>
        <p:grpSp>
          <p:nvGrpSpPr>
            <p:cNvPr id="115" name="Google Shape;277;p4">
              <a:extLst>
                <a:ext uri="{FF2B5EF4-FFF2-40B4-BE49-F238E27FC236}">
                  <a16:creationId xmlns:a16="http://schemas.microsoft.com/office/drawing/2014/main" id="{9E4EFBC0-C9CB-4148-93ED-04BF7D89D8A3}"/>
                </a:ext>
              </a:extLst>
            </p:cNvPr>
            <p:cNvGrpSpPr/>
            <p:nvPr/>
          </p:nvGrpSpPr>
          <p:grpSpPr>
            <a:xfrm>
              <a:off x="7054264" y="2595983"/>
              <a:ext cx="190288" cy="789446"/>
              <a:chOff x="6801474" y="1968366"/>
              <a:chExt cx="245504" cy="802802"/>
            </a:xfrm>
          </p:grpSpPr>
          <p:sp>
            <p:nvSpPr>
              <p:cNvPr id="116" name="Google Shape;278;p4">
                <a:extLst>
                  <a:ext uri="{FF2B5EF4-FFF2-40B4-BE49-F238E27FC236}">
                    <a16:creationId xmlns:a16="http://schemas.microsoft.com/office/drawing/2014/main" id="{2557BFD1-CD9C-47EE-8AD0-BF3D8571F1BB}"/>
                  </a:ext>
                </a:extLst>
              </p:cNvPr>
              <p:cNvSpPr/>
              <p:nvPr/>
            </p:nvSpPr>
            <p:spPr>
              <a:xfrm>
                <a:off x="6846057" y="1968366"/>
                <a:ext cx="156341" cy="802802"/>
              </a:xfrm>
              <a:prstGeom prst="rect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grpSp>
            <p:nvGrpSpPr>
              <p:cNvPr id="117" name="Google Shape;279;p4">
                <a:extLst>
                  <a:ext uri="{FF2B5EF4-FFF2-40B4-BE49-F238E27FC236}">
                    <a16:creationId xmlns:a16="http://schemas.microsoft.com/office/drawing/2014/main" id="{9EC5C695-15B8-4ED9-BE15-19729543675F}"/>
                  </a:ext>
                </a:extLst>
              </p:cNvPr>
              <p:cNvGrpSpPr/>
              <p:nvPr/>
            </p:nvGrpSpPr>
            <p:grpSpPr>
              <a:xfrm>
                <a:off x="6801474" y="2095154"/>
                <a:ext cx="245504" cy="549228"/>
                <a:chOff x="6191200" y="3238500"/>
                <a:chExt cx="681225" cy="1524000"/>
              </a:xfrm>
            </p:grpSpPr>
            <p:sp>
              <p:nvSpPr>
                <p:cNvPr id="118" name="Google Shape;280;p4">
                  <a:extLst>
                    <a:ext uri="{FF2B5EF4-FFF2-40B4-BE49-F238E27FC236}">
                      <a16:creationId xmlns:a16="http://schemas.microsoft.com/office/drawing/2014/main" id="{88B167E2-DAC4-4F5F-A1D3-2DA227A6127B}"/>
                    </a:ext>
                  </a:extLst>
                </p:cNvPr>
                <p:cNvSpPr/>
                <p:nvPr/>
              </p:nvSpPr>
              <p:spPr>
                <a:xfrm>
                  <a:off x="6191200" y="3238500"/>
                  <a:ext cx="438150" cy="15240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60501" h="5080001" extrusionOk="0">
                      <a:moveTo>
                        <a:pt x="0" y="0"/>
                      </a:moveTo>
                      <a:lnTo>
                        <a:pt x="1460500" y="2540000"/>
                      </a:lnTo>
                      <a:lnTo>
                        <a:pt x="0" y="5080000"/>
                      </a:lnTo>
                    </a:path>
                  </a:pathLst>
                </a:custGeom>
                <a:noFill/>
                <a:ln w="9525" cap="rnd" cmpd="sng">
                  <a:solidFill>
                    <a:srgbClr val="85C6FF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algn="ctr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19" name="Google Shape;281;p4">
                  <a:extLst>
                    <a:ext uri="{FF2B5EF4-FFF2-40B4-BE49-F238E27FC236}">
                      <a16:creationId xmlns:a16="http://schemas.microsoft.com/office/drawing/2014/main" id="{CD58BCB2-C385-4B75-A3DA-96E0819E047E}"/>
                    </a:ext>
                  </a:extLst>
                </p:cNvPr>
                <p:cNvSpPr/>
                <p:nvPr/>
              </p:nvSpPr>
              <p:spPr>
                <a:xfrm>
                  <a:off x="6434275" y="3238500"/>
                  <a:ext cx="438150" cy="15240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60501" h="5080001" extrusionOk="0">
                      <a:moveTo>
                        <a:pt x="0" y="0"/>
                      </a:moveTo>
                      <a:lnTo>
                        <a:pt x="1460500" y="2540000"/>
                      </a:lnTo>
                      <a:lnTo>
                        <a:pt x="0" y="5080000"/>
                      </a:lnTo>
                    </a:path>
                  </a:pathLst>
                </a:custGeom>
                <a:noFill/>
                <a:ln w="9525" cap="rnd" cmpd="sng">
                  <a:solidFill>
                    <a:schemeClr val="accent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algn="ctr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</p:grpSp>
        </p:grpSp>
      </p:grpSp>
      <p:sp>
        <p:nvSpPr>
          <p:cNvPr id="37" name="object 13"/>
          <p:cNvSpPr txBox="1"/>
          <p:nvPr/>
        </p:nvSpPr>
        <p:spPr>
          <a:xfrm>
            <a:off x="1065918" y="2067961"/>
            <a:ext cx="1274762" cy="807907"/>
          </a:xfrm>
          <a:prstGeom prst="rect">
            <a:avLst/>
          </a:prstGeom>
        </p:spPr>
        <p:txBody>
          <a:bodyPr lIns="0" tIns="12694" rIns="0" bIns="0">
            <a:spAutoFit/>
          </a:bodyPr>
          <a:lstStyle/>
          <a:p>
            <a:pPr marL="12694" algn="ctr" eaLnBrk="1" fontAlgn="auto" hangingPunct="1">
              <a:spcBef>
                <a:spcPts val="100"/>
              </a:spcBef>
              <a:spcAft>
                <a:spcPts val="0"/>
              </a:spcAft>
              <a:defRPr/>
            </a:pPr>
            <a:r>
              <a:rPr lang="kk-KZ" sz="2800" b="1" spc="-5" dirty="0" smtClean="0">
                <a:solidFill>
                  <a:srgbClr val="00B050"/>
                </a:solidFill>
                <a:ea typeface="Tahoma" pitchFamily="34" charset="0"/>
                <a:cs typeface="Arial" panose="020B0604020202020204" pitchFamily="34" charset="0"/>
              </a:rPr>
              <a:t>2</a:t>
            </a:r>
            <a:r>
              <a:rPr lang="en-US" sz="2800" b="1" spc="-5" dirty="0" smtClean="0">
                <a:solidFill>
                  <a:srgbClr val="00B050"/>
                </a:solidFill>
                <a:ea typeface="Tahoma" pitchFamily="34" charset="0"/>
                <a:cs typeface="Arial" panose="020B0604020202020204" pitchFamily="34" charset="0"/>
              </a:rPr>
              <a:t>5</a:t>
            </a:r>
            <a:r>
              <a:rPr lang="ru-RU" sz="2800" b="1" spc="-5" dirty="0" smtClean="0">
                <a:solidFill>
                  <a:srgbClr val="00B050"/>
                </a:solidFill>
                <a:ea typeface="Tahoma" pitchFamily="34" charset="0"/>
                <a:cs typeface="Arial" panose="020B0604020202020204" pitchFamily="34" charset="0"/>
              </a:rPr>
              <a:t>0</a:t>
            </a:r>
            <a:endParaRPr lang="en-US" sz="2000" dirty="0">
              <a:solidFill>
                <a:srgbClr val="00B050"/>
              </a:solidFill>
              <a:ea typeface="Tahoma" pitchFamily="34" charset="0"/>
              <a:cs typeface="Arial" panose="020B0604020202020204" pitchFamily="34" charset="0"/>
            </a:endParaRPr>
          </a:p>
          <a:p>
            <a:pPr marL="12694" algn="ctr" eaLnBrk="1" fontAlgn="auto" hangingPunct="1">
              <a:spcBef>
                <a:spcPts val="100"/>
              </a:spcBef>
              <a:spcAft>
                <a:spcPts val="0"/>
              </a:spcAft>
              <a:defRPr/>
            </a:pPr>
            <a:endParaRPr lang="ru-RU" sz="600" b="1" spc="-20" dirty="0">
              <a:ea typeface="Tahoma" pitchFamily="34" charset="0"/>
              <a:cs typeface="Arial" panose="020B0604020202020204" pitchFamily="34" charset="0"/>
            </a:endParaRPr>
          </a:p>
          <a:p>
            <a:pPr marL="12694" algn="ctr" eaLnBrk="1" fontAlgn="auto" hangingPunct="1">
              <a:spcBef>
                <a:spcPts val="100"/>
              </a:spcBef>
              <a:spcAft>
                <a:spcPts val="0"/>
              </a:spcAft>
              <a:defRPr/>
            </a:pPr>
            <a:r>
              <a:rPr lang="ru-RU" sz="1600" b="1" spc="-20" dirty="0" smtClean="0">
                <a:ea typeface="Tahoma" pitchFamily="34" charset="0"/>
                <a:cs typeface="Arial" panose="020B0604020202020204" pitchFamily="34" charset="0"/>
              </a:rPr>
              <a:t>ТКШ</a:t>
            </a:r>
            <a:endParaRPr lang="ru-RU" sz="1600" b="1" spc="-20" dirty="0"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30748" name="object 12"/>
          <p:cNvSpPr txBox="1">
            <a:spLocks noChangeArrowheads="1"/>
          </p:cNvSpPr>
          <p:nvPr/>
        </p:nvSpPr>
        <p:spPr bwMode="auto">
          <a:xfrm>
            <a:off x="3888423" y="1927551"/>
            <a:ext cx="2000250" cy="10111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13329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marL="12694" algn="ctr" eaLnBrk="1" fontAlgn="auto" hangingPunct="1">
              <a:spcBef>
                <a:spcPts val="100"/>
              </a:spcBef>
              <a:spcAft>
                <a:spcPts val="0"/>
              </a:spcAft>
              <a:defRPr/>
            </a:pPr>
            <a:r>
              <a:rPr lang="en-US" altLang="en-US" sz="2800" b="1" spc="-5" dirty="0" smtClean="0">
                <a:solidFill>
                  <a:srgbClr val="00B050"/>
                </a:solidFill>
                <a:ea typeface="Tahoma" pitchFamily="34" charset="0"/>
                <a:cs typeface="Arial" panose="020B0604020202020204" pitchFamily="34" charset="0"/>
              </a:rPr>
              <a:t>67</a:t>
            </a:r>
            <a:r>
              <a:rPr lang="ru-RU" altLang="en-US" sz="2800" b="1" spc="-5" dirty="0" smtClean="0">
                <a:solidFill>
                  <a:srgbClr val="00B050"/>
                </a:solidFill>
                <a:ea typeface="Tahoma" pitchFamily="34" charset="0"/>
                <a:cs typeface="Arial" panose="020B0604020202020204" pitchFamily="34" charset="0"/>
              </a:rPr>
              <a:t>6</a:t>
            </a:r>
            <a:endParaRPr lang="en-US" altLang="en-US" sz="2800" b="1" spc="-5" dirty="0">
              <a:solidFill>
                <a:srgbClr val="00B050"/>
              </a:solidFill>
              <a:ea typeface="Tahoma" pitchFamily="34" charset="0"/>
              <a:cs typeface="Arial" panose="020B0604020202020204" pitchFamily="34" charset="0"/>
            </a:endParaRPr>
          </a:p>
          <a:p>
            <a:pPr algn="ctr" eaLnBrk="1" hangingPunct="1">
              <a:spcBef>
                <a:spcPts val="100"/>
              </a:spcBef>
            </a:pPr>
            <a:r>
              <a:rPr lang="kk-KZ" altLang="en-US" sz="1800" b="1" dirty="0" smtClean="0">
                <a:ea typeface="Tahoma" panose="020B0604030504040204" pitchFamily="34" charset="0"/>
                <a:cs typeface="Arial" panose="020B0604020202020204" pitchFamily="34" charset="0"/>
              </a:rPr>
              <a:t>әлеуметтік</a:t>
            </a:r>
            <a:br>
              <a:rPr lang="kk-KZ" altLang="en-US" sz="1800" b="1" dirty="0" smtClean="0">
                <a:ea typeface="Tahoma" panose="020B0604030504040204" pitchFamily="34" charset="0"/>
                <a:cs typeface="Arial" panose="020B0604020202020204" pitchFamily="34" charset="0"/>
              </a:rPr>
            </a:br>
            <a:r>
              <a:rPr lang="kk-KZ" altLang="en-US" sz="1800" b="1" dirty="0" smtClean="0">
                <a:ea typeface="Tahoma" panose="020B0604030504040204" pitchFamily="34" charset="0"/>
                <a:cs typeface="Arial" panose="020B0604020202020204" pitchFamily="34" charset="0"/>
              </a:rPr>
              <a:t>инфрақұрылым</a:t>
            </a:r>
            <a:endParaRPr lang="kk-KZ" altLang="en-US" sz="1800" b="1" dirty="0"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5" name="object 11"/>
          <p:cNvSpPr txBox="1"/>
          <p:nvPr/>
        </p:nvSpPr>
        <p:spPr>
          <a:xfrm>
            <a:off x="7098604" y="1927874"/>
            <a:ext cx="1839913" cy="1011168"/>
          </a:xfrm>
          <a:prstGeom prst="rect">
            <a:avLst/>
          </a:prstGeom>
        </p:spPr>
        <p:txBody>
          <a:bodyPr lIns="0" tIns="13329" rIns="0" bIns="0">
            <a:spAutoFit/>
          </a:bodyPr>
          <a:lstStyle/>
          <a:p>
            <a:pPr marL="635" algn="ctr" eaLnBrk="1" fontAlgn="auto" hangingPunct="1">
              <a:spcBef>
                <a:spcPts val="105"/>
              </a:spcBef>
              <a:spcAft>
                <a:spcPts val="0"/>
              </a:spcAft>
              <a:defRPr/>
            </a:pPr>
            <a:r>
              <a:rPr lang="kk-KZ" sz="2800" b="1" dirty="0">
                <a:solidFill>
                  <a:srgbClr val="00B050"/>
                </a:solidFill>
                <a:ea typeface="+mn-ea"/>
                <a:cs typeface="Arial" panose="020B0604020202020204" pitchFamily="34" charset="0"/>
              </a:rPr>
              <a:t>1 </a:t>
            </a:r>
            <a:r>
              <a:rPr lang="kk-KZ" sz="2800" b="1" dirty="0" smtClean="0">
                <a:solidFill>
                  <a:srgbClr val="00B050"/>
                </a:solidFill>
                <a:ea typeface="+mn-ea"/>
                <a:cs typeface="Arial" panose="020B0604020202020204" pitchFamily="34" charset="0"/>
              </a:rPr>
              <a:t>6</a:t>
            </a:r>
            <a:r>
              <a:rPr lang="ru-RU" sz="2800" b="1" dirty="0" smtClean="0">
                <a:solidFill>
                  <a:srgbClr val="00B050"/>
                </a:solidFill>
                <a:ea typeface="+mn-ea"/>
                <a:cs typeface="Arial" panose="020B0604020202020204" pitchFamily="34" charset="0"/>
              </a:rPr>
              <a:t>99</a:t>
            </a:r>
            <a:endParaRPr lang="en-US" sz="1600" spc="-20" dirty="0">
              <a:solidFill>
                <a:srgbClr val="00B050"/>
              </a:solidFill>
              <a:ea typeface="Tahoma" pitchFamily="34" charset="0"/>
              <a:cs typeface="Arial" panose="020B0604020202020204" pitchFamily="34" charset="0"/>
            </a:endParaRPr>
          </a:p>
          <a:p>
            <a:pPr marL="635" algn="ctr" eaLnBrk="1" fontAlgn="auto" hangingPunct="1">
              <a:spcBef>
                <a:spcPts val="105"/>
              </a:spcBef>
              <a:spcAft>
                <a:spcPts val="0"/>
              </a:spcAft>
              <a:defRPr/>
            </a:pPr>
            <a:r>
              <a:rPr lang="kk-KZ" sz="1800" b="1" spc="-20" dirty="0" smtClean="0">
                <a:ea typeface="Tahoma" pitchFamily="34" charset="0"/>
                <a:cs typeface="Arial" panose="020B0604020202020204" pitchFamily="34" charset="0"/>
              </a:rPr>
              <a:t>көліктік</a:t>
            </a:r>
          </a:p>
          <a:p>
            <a:pPr algn="ctr" eaLnBrk="1" fontAlgn="auto" hangingPunct="1">
              <a:spcBef>
                <a:spcPts val="5"/>
              </a:spcBef>
              <a:spcAft>
                <a:spcPts val="0"/>
              </a:spcAft>
              <a:defRPr/>
            </a:pPr>
            <a:r>
              <a:rPr lang="kk-KZ" sz="1800" b="1" spc="-20" dirty="0" smtClean="0">
                <a:ea typeface="Tahoma" pitchFamily="34" charset="0"/>
                <a:cs typeface="Arial" panose="020B0604020202020204" pitchFamily="34" charset="0"/>
              </a:rPr>
              <a:t>инфрақұрылым</a:t>
            </a:r>
            <a:endParaRPr lang="kk-KZ" sz="1800" b="1" spc="-20" dirty="0">
              <a:ea typeface="Tahoma" pitchFamily="34" charset="0"/>
              <a:cs typeface="Arial" panose="020B0604020202020204" pitchFamily="34" charset="0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5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7351" y="2306481"/>
            <a:ext cx="300487" cy="300487"/>
          </a:xfrm>
          <a:prstGeom prst="rect">
            <a:avLst/>
          </a:prstGeom>
        </p:spPr>
      </p:pic>
      <p:pic>
        <p:nvPicPr>
          <p:cNvPr id="59" name="Рисунок 58"/>
          <p:cNvPicPr>
            <a:picLocks noChangeAspect="1"/>
          </p:cNvPicPr>
          <p:nvPr/>
        </p:nvPicPr>
        <p:blipFill>
          <a:blip r:embed="rId6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241" y="2272817"/>
            <a:ext cx="367029" cy="334150"/>
          </a:xfrm>
          <a:prstGeom prst="rect">
            <a:avLst/>
          </a:prstGeom>
        </p:spPr>
      </p:pic>
      <p:pic>
        <p:nvPicPr>
          <p:cNvPr id="60" name="Picture 3" descr="C:\Users\WW\Downloads\education.png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6611" y="2245214"/>
            <a:ext cx="353239" cy="387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3" name="Прямая соединительная линия 93">
            <a:extLst>
              <a:ext uri="{FF2B5EF4-FFF2-40B4-BE49-F238E27FC236}">
                <a16:creationId xmlns:a16="http://schemas.microsoft.com/office/drawing/2014/main" id="{00165424-9E95-48F4-A6DF-A82B143DACDB}"/>
              </a:ext>
            </a:extLst>
          </p:cNvPr>
          <p:cNvCxnSpPr>
            <a:cxnSpLocks/>
          </p:cNvCxnSpPr>
          <p:nvPr/>
        </p:nvCxnSpPr>
        <p:spPr>
          <a:xfrm>
            <a:off x="3046413" y="1927552"/>
            <a:ext cx="0" cy="30476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Прямая соединительная линия 93">
            <a:extLst>
              <a:ext uri="{FF2B5EF4-FFF2-40B4-BE49-F238E27FC236}">
                <a16:creationId xmlns:a16="http://schemas.microsoft.com/office/drawing/2014/main" id="{C6BC7ADE-26FC-4094-886F-70F240F72190}"/>
              </a:ext>
            </a:extLst>
          </p:cNvPr>
          <p:cNvCxnSpPr>
            <a:cxnSpLocks/>
          </p:cNvCxnSpPr>
          <p:nvPr/>
        </p:nvCxnSpPr>
        <p:spPr>
          <a:xfrm>
            <a:off x="6152238" y="1927552"/>
            <a:ext cx="0" cy="30476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2442676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3808877"/>
              </p:ext>
            </p:extLst>
          </p:nvPr>
        </p:nvGraphicFramePr>
        <p:xfrm>
          <a:off x="99893" y="584607"/>
          <a:ext cx="8966835" cy="430658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872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59862">
                  <a:extLst>
                    <a:ext uri="{9D8B030D-6E8A-4147-A177-3AD203B41FA5}">
                      <a16:colId xmlns:a16="http://schemas.microsoft.com/office/drawing/2014/main" val="891505616"/>
                    </a:ext>
                  </a:extLst>
                </a:gridCol>
                <a:gridCol w="211891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0080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681527">
                <a:tc>
                  <a:txBody>
                    <a:bodyPr/>
                    <a:lstStyle/>
                    <a:p>
                      <a:pPr algn="ctr" fontAlgn="ctr"/>
                      <a:r>
                        <a:rPr lang="kk-KZ" sz="1300" b="1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Облыс</a:t>
                      </a:r>
                      <a:r>
                        <a:rPr lang="kk-KZ" sz="1300" b="1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 атауы</a:t>
                      </a:r>
                      <a:endParaRPr lang="kk-KZ" sz="1300" b="1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pattFill prst="ltDnDiag">
                      <a:fgClr>
                        <a:srgbClr val="FDE8A4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k-KZ" sz="1300" b="1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Бөлінді</a:t>
                      </a:r>
                      <a:r>
                        <a:rPr lang="ru-RU" sz="13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ru-RU" sz="13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3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 (РБ, ЖБ)</a:t>
                      </a:r>
                      <a:r>
                        <a:rPr lang="ru-RU" sz="13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ru-RU" sz="1300" b="1" i="0" u="none" strike="noStrike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pattFill prst="ltDnDiag">
                      <a:fgClr>
                        <a:srgbClr val="FDE8A4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k-KZ" sz="13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АЕМ</a:t>
                      </a:r>
                    </a:p>
                    <a:p>
                      <a:pPr algn="ctr" fontAlgn="ctr"/>
                      <a:r>
                        <a:rPr lang="kk-KZ" sz="13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саны</a:t>
                      </a:r>
                      <a:endParaRPr lang="ru-RU" sz="1300" b="1" u="none" strike="noStrike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pattFill prst="ltDnDiag">
                      <a:fgClr>
                        <a:srgbClr val="FDE8A4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sz="13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на </a:t>
                      </a:r>
                      <a:r>
                        <a:rPr lang="en-US" sz="13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01</a:t>
                      </a:r>
                      <a:r>
                        <a:rPr lang="kk-KZ" sz="13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3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01</a:t>
                      </a:r>
                      <a:r>
                        <a:rPr lang="kk-KZ" sz="13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.2</a:t>
                      </a:r>
                      <a:r>
                        <a:rPr lang="en-US" sz="13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kk-KZ" sz="13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 ж.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sz="13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жобалар саны </a:t>
                      </a:r>
                      <a:endParaRPr lang="ru-RU" sz="1300" b="1" u="none" strike="noStrike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pattFill prst="ltDnDiag">
                      <a:fgClr>
                        <a:srgbClr val="FDE8A4"/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3755">
                <a:tc>
                  <a:txBody>
                    <a:bodyPr/>
                    <a:lstStyle/>
                    <a:p>
                      <a:pPr marL="0" indent="85725" algn="l" fontAlgn="ctr"/>
                      <a:r>
                        <a:rPr lang="kk-KZ" sz="1300" u="none" strike="noStrike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Ақмола</a:t>
                      </a:r>
                      <a:endParaRPr lang="kk-KZ" sz="1300" b="0" i="0" u="none" strike="noStrike" noProof="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ru-RU" sz="13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10 04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30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27</a:t>
                      </a:r>
                      <a:endParaRPr lang="ru-RU" sz="130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ru-RU" sz="13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73</a:t>
                      </a:r>
                      <a:endParaRPr lang="ru-RU" sz="1300" b="1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3755">
                <a:tc>
                  <a:txBody>
                    <a:bodyPr/>
                    <a:lstStyle/>
                    <a:p>
                      <a:pPr marL="0" indent="85725" algn="l" defTabSz="1125336" rtl="0" eaLnBrk="1" fontAlgn="ctr" latinLnBrk="0" hangingPunct="1"/>
                      <a:r>
                        <a:rPr lang="kk-KZ" sz="1300" u="none" strike="noStrike" kern="120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Ақтөбе</a:t>
                      </a:r>
                      <a:endParaRPr lang="kk-KZ" sz="1300" u="none" strike="noStrike" kern="1200" noProof="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ru-RU" sz="13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6 37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30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33</a:t>
                      </a:r>
                      <a:endParaRPr lang="ru-RU" sz="130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ru-RU" sz="13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103</a:t>
                      </a:r>
                      <a:endParaRPr lang="ru-RU" sz="1300" b="1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3755">
                <a:tc>
                  <a:txBody>
                    <a:bodyPr/>
                    <a:lstStyle/>
                    <a:p>
                      <a:pPr marL="0" indent="85725" algn="l" defTabSz="1125336" rtl="0" eaLnBrk="1" fontAlgn="ctr" latinLnBrk="0" hangingPunct="1"/>
                      <a:r>
                        <a:rPr lang="kk-KZ" sz="1300" u="none" strike="noStrike" kern="120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Алматы</a:t>
                      </a:r>
                      <a:endParaRPr lang="kk-KZ" sz="1300" u="none" strike="noStrike" kern="1200" noProof="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ru-RU" sz="13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16 90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30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41</a:t>
                      </a:r>
                      <a:endParaRPr lang="ru-RU" sz="130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ru-RU" sz="13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27</a:t>
                      </a:r>
                      <a:endParaRPr lang="ru-RU" sz="1300" b="1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3755">
                <a:tc>
                  <a:txBody>
                    <a:bodyPr/>
                    <a:lstStyle/>
                    <a:p>
                      <a:pPr marL="0" indent="85725" algn="l" defTabSz="1125336" rtl="0" eaLnBrk="1" fontAlgn="ctr" latinLnBrk="0" hangingPunct="1"/>
                      <a:r>
                        <a:rPr lang="kk-KZ" sz="1300" u="none" strike="noStrike" kern="120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Атырау</a:t>
                      </a:r>
                      <a:endParaRPr lang="kk-KZ" sz="1300" u="none" strike="noStrike" kern="1200" noProof="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ru-RU" sz="13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8 30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30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16</a:t>
                      </a:r>
                      <a:endParaRPr lang="ru-RU" sz="130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ru-RU" sz="13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40</a:t>
                      </a:r>
                      <a:endParaRPr lang="ru-RU" sz="1300" b="1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3755">
                <a:tc>
                  <a:txBody>
                    <a:bodyPr/>
                    <a:lstStyle/>
                    <a:p>
                      <a:pPr marL="0" indent="85725" algn="l" defTabSz="1125336" rtl="0" eaLnBrk="1" fontAlgn="ctr" latinLnBrk="0" hangingPunct="1"/>
                      <a:r>
                        <a:rPr lang="kk-KZ" sz="1300" u="none" strike="noStrike" kern="120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ШҚО</a:t>
                      </a:r>
                      <a:endParaRPr lang="kk-KZ" sz="1300" u="none" strike="noStrike" kern="1200" noProof="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ru-RU" sz="13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8 34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30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44</a:t>
                      </a:r>
                      <a:endParaRPr lang="ru-RU" sz="130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ru-RU" sz="13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100</a:t>
                      </a:r>
                      <a:endParaRPr lang="ru-RU" sz="1300" b="1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33755">
                <a:tc>
                  <a:txBody>
                    <a:bodyPr/>
                    <a:lstStyle/>
                    <a:p>
                      <a:pPr marL="0" indent="85725" algn="l" defTabSz="1125336" rtl="0" eaLnBrk="1" fontAlgn="ctr" latinLnBrk="0" hangingPunct="1"/>
                      <a:r>
                        <a:rPr lang="kk-KZ" sz="1300" u="none" strike="noStrike" kern="120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Жамбыл</a:t>
                      </a:r>
                      <a:endParaRPr lang="kk-KZ" sz="1300" u="none" strike="noStrike" kern="1200" noProof="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ru-RU" sz="13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9 248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30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67</a:t>
                      </a:r>
                      <a:endParaRPr lang="ru-RU" sz="130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ru-RU" sz="13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112</a:t>
                      </a:r>
                      <a:endParaRPr lang="ru-RU" sz="1300" b="1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33755">
                <a:tc>
                  <a:txBody>
                    <a:bodyPr/>
                    <a:lstStyle/>
                    <a:p>
                      <a:pPr marL="0" indent="85725" algn="l" defTabSz="1125336" rtl="0" eaLnBrk="1" fontAlgn="ctr" latinLnBrk="0" hangingPunct="1"/>
                      <a:r>
                        <a:rPr lang="kk-KZ" sz="1300" u="none" strike="noStrike" kern="120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БҚО</a:t>
                      </a:r>
                      <a:endParaRPr lang="kk-KZ" sz="1300" u="none" strike="noStrike" kern="1200" noProof="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ru-RU" sz="13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9 296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30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16</a:t>
                      </a:r>
                      <a:endParaRPr lang="ru-RU" sz="130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ru-RU" sz="13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71</a:t>
                      </a:r>
                      <a:endParaRPr lang="ru-RU" sz="1300" b="1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6186">
                <a:tc>
                  <a:txBody>
                    <a:bodyPr/>
                    <a:lstStyle/>
                    <a:p>
                      <a:pPr marL="0" indent="85725" algn="l" defTabSz="1125336" rtl="0" eaLnBrk="1" fontAlgn="ctr" latinLnBrk="0" hangingPunct="1"/>
                      <a:r>
                        <a:rPr lang="kk-KZ" sz="1300" u="none" strike="noStrike" kern="120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Қарағанды</a:t>
                      </a:r>
                      <a:endParaRPr lang="kk-KZ" sz="1300" u="none" strike="noStrike" kern="1200" noProof="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ru-RU" sz="13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5 687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30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33</a:t>
                      </a:r>
                      <a:endParaRPr lang="ru-RU" sz="130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ru-RU" sz="13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52</a:t>
                      </a:r>
                      <a:endParaRPr lang="ru-RU" sz="1300" b="1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33755">
                <a:tc>
                  <a:txBody>
                    <a:bodyPr/>
                    <a:lstStyle/>
                    <a:p>
                      <a:pPr marL="0" indent="85725" algn="l" defTabSz="1125336" rtl="0" eaLnBrk="1" fontAlgn="ctr" latinLnBrk="0" hangingPunct="1"/>
                      <a:r>
                        <a:rPr lang="kk-KZ" sz="1300" u="none" strike="noStrike" kern="120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Қостанай</a:t>
                      </a:r>
                      <a:endParaRPr lang="kk-KZ" sz="1300" u="none" strike="noStrike" kern="1200" noProof="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ru-RU" sz="13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5 899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30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20</a:t>
                      </a:r>
                      <a:endParaRPr lang="ru-RU" sz="130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ru-RU" sz="13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47</a:t>
                      </a:r>
                      <a:endParaRPr lang="ru-RU" sz="1300" b="1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33755">
                <a:tc>
                  <a:txBody>
                    <a:bodyPr/>
                    <a:lstStyle/>
                    <a:p>
                      <a:pPr marL="0" indent="85725" algn="l" defTabSz="1125336" rtl="0" eaLnBrk="1" fontAlgn="ctr" latinLnBrk="0" hangingPunct="1"/>
                      <a:r>
                        <a:rPr lang="kk-KZ" sz="1300" u="none" strike="noStrike" kern="120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Қызылорда</a:t>
                      </a:r>
                      <a:endParaRPr lang="kk-KZ" sz="1300" u="none" strike="noStrike" kern="1200" noProof="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ru-RU" sz="13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5 61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30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26</a:t>
                      </a:r>
                      <a:endParaRPr lang="ru-RU" sz="130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ru-RU" sz="13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70</a:t>
                      </a:r>
                      <a:endParaRPr lang="ru-RU" sz="1300" b="1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33755">
                <a:tc>
                  <a:txBody>
                    <a:bodyPr/>
                    <a:lstStyle/>
                    <a:p>
                      <a:pPr marL="0" indent="85725" algn="l" defTabSz="1125336" rtl="0" eaLnBrk="1" fontAlgn="ctr" latinLnBrk="0" hangingPunct="1"/>
                      <a:r>
                        <a:rPr lang="kk-KZ" sz="1300" u="none" strike="noStrike" kern="120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Маңғыстау</a:t>
                      </a:r>
                      <a:endParaRPr lang="kk-KZ" sz="1300" u="none" strike="noStrike" kern="1200" noProof="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ru-RU" sz="13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4 98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30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16</a:t>
                      </a:r>
                      <a:endParaRPr lang="ru-RU" sz="130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ru-RU" sz="13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33</a:t>
                      </a:r>
                      <a:endParaRPr lang="ru-RU" sz="1300" b="1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33755">
                <a:tc>
                  <a:txBody>
                    <a:bodyPr/>
                    <a:lstStyle/>
                    <a:p>
                      <a:pPr marL="0" indent="85725" algn="l" defTabSz="1125336" rtl="0" eaLnBrk="1" fontAlgn="ctr" latinLnBrk="0" hangingPunct="1"/>
                      <a:r>
                        <a:rPr lang="kk-KZ" sz="1300" u="none" strike="noStrike" kern="120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Павлодар</a:t>
                      </a:r>
                      <a:endParaRPr lang="kk-KZ" sz="1300" u="none" strike="noStrike" kern="1200" noProof="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ru-RU" sz="13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4 959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30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22</a:t>
                      </a:r>
                      <a:endParaRPr lang="ru-RU" sz="130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ru-RU" sz="13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85</a:t>
                      </a:r>
                      <a:endParaRPr lang="ru-RU" sz="1300" b="1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33755">
                <a:tc>
                  <a:txBody>
                    <a:bodyPr/>
                    <a:lstStyle/>
                    <a:p>
                      <a:pPr marL="0" indent="85725" algn="l" defTabSz="1125336" rtl="0" eaLnBrk="1" fontAlgn="ctr" latinLnBrk="0" hangingPunct="1"/>
                      <a:r>
                        <a:rPr lang="kk-KZ" sz="1300" u="none" strike="noStrike" kern="120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СҚО</a:t>
                      </a:r>
                      <a:endParaRPr lang="kk-KZ" sz="1300" u="none" strike="noStrike" kern="1200" noProof="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ru-RU" sz="13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9 69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30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50</a:t>
                      </a:r>
                      <a:endParaRPr lang="ru-RU" sz="130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ru-RU" sz="13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69</a:t>
                      </a:r>
                      <a:endParaRPr lang="ru-RU" sz="1300" b="1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33755">
                <a:tc>
                  <a:txBody>
                    <a:bodyPr/>
                    <a:lstStyle/>
                    <a:p>
                      <a:pPr marL="0" indent="85725" algn="l" defTabSz="1125336" rtl="0" eaLnBrk="1" fontAlgn="ctr" latinLnBrk="0" hangingPunct="1"/>
                      <a:r>
                        <a:rPr lang="kk-KZ" sz="1300" u="none" strike="noStrike" kern="120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Туркістан</a:t>
                      </a:r>
                      <a:endParaRPr lang="kk-KZ" sz="1300" u="none" strike="noStrike" kern="1200" noProof="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ru-RU" sz="13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20 96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30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69</a:t>
                      </a:r>
                      <a:endParaRPr lang="ru-RU" sz="130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ru-RU" sz="13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298</a:t>
                      </a:r>
                      <a:endParaRPr lang="ru-RU" sz="1300" b="1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200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8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 ЖИЫНТЫҒЫ </a:t>
                      </a:r>
                      <a:endParaRPr lang="ru-RU" sz="18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25336" rtl="0" eaLnBrk="1" fontAlgn="b" latinLnBrk="0" hangingPunct="1"/>
                      <a:r>
                        <a:rPr lang="kk-KZ" sz="15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126 297</a:t>
                      </a:r>
                      <a:endParaRPr lang="ru-RU" sz="1500" b="1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25336" rtl="0" eaLnBrk="1" fontAlgn="b" latinLnBrk="0" hangingPunct="1"/>
                      <a:r>
                        <a:rPr lang="kk-KZ" sz="15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480</a:t>
                      </a:r>
                      <a:endParaRPr lang="ru-RU" sz="1500" b="1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5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1 180</a:t>
                      </a:r>
                      <a:endParaRPr lang="ru-RU" sz="1500" b="1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Заголовок 1"/>
          <p:cNvSpPr txBox="1">
            <a:spLocks/>
          </p:cNvSpPr>
          <p:nvPr/>
        </p:nvSpPr>
        <p:spPr>
          <a:xfrm>
            <a:off x="0" y="-16328"/>
            <a:ext cx="9144000" cy="522288"/>
          </a:xfrm>
          <a:prstGeom prst="rect">
            <a:avLst/>
          </a:prstGeom>
        </p:spPr>
        <p:txBody>
          <a:bodyPr lIns="91394" tIns="45696" rIns="91394" bIns="45696" anchor="ctr"/>
          <a:lstStyle>
            <a:lvl1pPr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 defTabSz="690196">
              <a:lnSpc>
                <a:spcPct val="100000"/>
              </a:lnSpc>
              <a:defRPr/>
            </a:pPr>
            <a:r>
              <a:rPr lang="ru-RU" sz="2400" b="1" cap="small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202</a:t>
            </a:r>
            <a:r>
              <a:rPr lang="en-US" sz="2400" b="1" cap="small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1</a:t>
            </a:r>
            <a:r>
              <a:rPr lang="kk-KZ" sz="2400" b="1" cap="small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жылы қаржыландыру</a:t>
            </a:r>
            <a:endParaRPr lang="ru-RU" sz="2400" b="1" cap="small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8314692" y="259405"/>
            <a:ext cx="752036" cy="276950"/>
          </a:xfrm>
          <a:prstGeom prst="rect">
            <a:avLst/>
          </a:prstGeom>
        </p:spPr>
        <p:txBody>
          <a:bodyPr wrap="none" lIns="91394" tIns="45696" rIns="91394" bIns="45696">
            <a:spAutoFit/>
          </a:bodyPr>
          <a:lstStyle/>
          <a:p>
            <a:pPr algn="ctr" fontAlgn="ctr"/>
            <a:r>
              <a:rPr lang="ru-RU" sz="1200" i="1" dirty="0">
                <a:ea typeface="Tahoma" panose="020B0604030504040204" pitchFamily="34" charset="0"/>
                <a:cs typeface="Tahoma" panose="020B0604030504040204" pitchFamily="34" charset="0"/>
              </a:rPr>
              <a:t>млн. </a:t>
            </a:r>
            <a:r>
              <a:rPr lang="ru-RU" sz="1200" i="1" dirty="0" err="1">
                <a:ea typeface="Tahoma" panose="020B0604030504040204" pitchFamily="34" charset="0"/>
                <a:cs typeface="Tahoma" panose="020B0604030504040204" pitchFamily="34" charset="0"/>
              </a:rPr>
              <a:t>тг</a:t>
            </a:r>
            <a:endParaRPr lang="ru-RU" sz="1200" i="1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-9505" y="4936278"/>
            <a:ext cx="9151684" cy="207227"/>
          </a:xfrm>
          <a:prstGeom prst="rect">
            <a:avLst/>
          </a:prstGeom>
          <a:pattFill prst="ltDnDiag">
            <a:fgClr>
              <a:srgbClr val="FDE8A4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4" tIns="45696" rIns="91394" bIns="45696" rtlCol="0" anchor="ctr"/>
          <a:lstStyle/>
          <a:p>
            <a:pPr algn="ctr"/>
            <a:r>
              <a:rPr lang="en-US" sz="1000" b="1" dirty="0" smtClean="0">
                <a:solidFill>
                  <a:schemeClr val="tx1"/>
                </a:solidFill>
              </a:rPr>
              <a:t>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</a:t>
            </a:r>
            <a:r>
              <a:rPr lang="en-US" sz="1000" b="1" dirty="0" smtClean="0">
                <a:solidFill>
                  <a:schemeClr val="tx1"/>
                </a:solidFill>
              </a:rPr>
              <a:t>5</a:t>
            </a:r>
            <a:endParaRPr lang="ru-RU" sz="1000" b="1" dirty="0">
              <a:solidFill>
                <a:schemeClr val="tx1"/>
              </a:solidFill>
            </a:endParaRPr>
          </a:p>
        </p:txBody>
      </p:sp>
      <p:sp>
        <p:nvSpPr>
          <p:cNvPr id="7" name="Rectangle 351">
            <a:extLst>
              <a:ext uri="{FF2B5EF4-FFF2-40B4-BE49-F238E27FC236}">
                <a16:creationId xmlns:a16="http://schemas.microsoft.com/office/drawing/2014/main" id="{5432FA52-C54D-4441-8485-CC66FC600269}"/>
              </a:ext>
            </a:extLst>
          </p:cNvPr>
          <p:cNvSpPr>
            <a:spLocks/>
          </p:cNvSpPr>
          <p:nvPr/>
        </p:nvSpPr>
        <p:spPr bwMode="gray">
          <a:xfrm>
            <a:off x="1" y="532664"/>
            <a:ext cx="9142178" cy="48817"/>
          </a:xfrm>
          <a:prstGeom prst="rect">
            <a:avLst/>
          </a:prstGeom>
          <a:solidFill>
            <a:srgbClr val="F9C61B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</p:spPr>
        <p:txBody>
          <a:bodyPr lIns="91394" tIns="45696" rIns="91394" bIns="45696" rtlCol="0" anchor="ctr">
            <a:noAutofit/>
          </a:bodyPr>
          <a:lstStyle/>
          <a:p>
            <a:pPr algn="ctr" defTabSz="91393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500" kern="0" dirty="0">
              <a:solidFill>
                <a:srgbClr val="000000"/>
              </a:solidFill>
              <a:ea typeface="ＭＳ Ｐゴシック"/>
              <a:cs typeface="+mn-cs"/>
            </a:endParaRPr>
          </a:p>
        </p:txBody>
      </p:sp>
      <p:sp>
        <p:nvSpPr>
          <p:cNvPr id="9" name="Rectangle 351">
            <a:extLst>
              <a:ext uri="{FF2B5EF4-FFF2-40B4-BE49-F238E27FC236}">
                <a16:creationId xmlns:a16="http://schemas.microsoft.com/office/drawing/2014/main" id="{5432FA52-C54D-4441-8485-CC66FC600269}"/>
              </a:ext>
            </a:extLst>
          </p:cNvPr>
          <p:cNvSpPr>
            <a:spLocks/>
          </p:cNvSpPr>
          <p:nvPr/>
        </p:nvSpPr>
        <p:spPr bwMode="gray">
          <a:xfrm>
            <a:off x="11082" y="4882985"/>
            <a:ext cx="9142178" cy="48817"/>
          </a:xfrm>
          <a:prstGeom prst="rect">
            <a:avLst/>
          </a:prstGeom>
          <a:solidFill>
            <a:srgbClr val="F9C61B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</p:spPr>
        <p:txBody>
          <a:bodyPr lIns="91394" tIns="45696" rIns="91394" bIns="45696" rtlCol="0" anchor="ctr">
            <a:noAutofit/>
          </a:bodyPr>
          <a:lstStyle/>
          <a:p>
            <a:pPr algn="ctr" defTabSz="91393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500" kern="0" dirty="0">
              <a:solidFill>
                <a:srgbClr val="000000"/>
              </a:solidFill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7557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" name="Пятиугольник 1033"/>
          <p:cNvSpPr/>
          <p:nvPr/>
        </p:nvSpPr>
        <p:spPr>
          <a:xfrm>
            <a:off x="794257" y="4353528"/>
            <a:ext cx="1628937" cy="447132"/>
          </a:xfrm>
          <a:prstGeom prst="homePlat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568" tIns="20783" rIns="41568" bIns="20783" anchor="ctr"/>
          <a:lstStyle/>
          <a:p>
            <a:pPr algn="ctr" defTabSz="4157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900">
              <a:solidFill>
                <a:prstClr val="white"/>
              </a:solidFill>
            </a:endParaRPr>
          </a:p>
        </p:txBody>
      </p:sp>
      <p:sp>
        <p:nvSpPr>
          <p:cNvPr id="1033" name="Прямоугольник с двумя вырезанными противолежащими углами 1032"/>
          <p:cNvSpPr/>
          <p:nvPr/>
        </p:nvSpPr>
        <p:spPr>
          <a:xfrm>
            <a:off x="274378" y="655983"/>
            <a:ext cx="4136606" cy="4237707"/>
          </a:xfrm>
          <a:prstGeom prst="snip2DiagRect">
            <a:avLst>
              <a:gd name="adj1" fmla="val 0"/>
              <a:gd name="adj2" fmla="val 8907"/>
            </a:avLst>
          </a:prstGeom>
          <a:ln w="28514">
            <a:solidFill>
              <a:srgbClr val="385D8A"/>
            </a:solidFill>
          </a:ln>
        </p:spPr>
        <p:txBody>
          <a:bodyPr wrap="square" lIns="0" tIns="0" rIns="0" bIns="0" rtlCol="0"/>
          <a:lstStyle/>
          <a:p>
            <a:pPr defTabSz="405409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8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5" name="Прямоугольник 94"/>
          <p:cNvSpPr/>
          <p:nvPr/>
        </p:nvSpPr>
        <p:spPr>
          <a:xfrm>
            <a:off x="79780" y="-39252"/>
            <a:ext cx="8984440" cy="872969"/>
          </a:xfrm>
          <a:prstGeom prst="rect">
            <a:avLst/>
          </a:prstGeom>
        </p:spPr>
        <p:txBody>
          <a:bodyPr wrap="square" lIns="41568" tIns="20783" rIns="41568" bIns="20783">
            <a:spAutoFit/>
          </a:bodyPr>
          <a:lstStyle/>
          <a:p>
            <a:pPr marL="5774" algn="ctr" defTabSz="913936" eaLnBrk="1" hangingPunct="1">
              <a:tabLst>
                <a:tab pos="206404" algn="l"/>
              </a:tabLst>
              <a:defRPr/>
            </a:pPr>
            <a:r>
              <a:rPr lang="ru-RU" sz="1800" b="1" kern="0" spc="5" dirty="0" smtClean="0">
                <a:solidFill>
                  <a:srgbClr val="006FCE"/>
                </a:solidFill>
                <a:cs typeface="Arial" panose="020B0604020202020204" pitchFamily="34" charset="0"/>
              </a:rPr>
              <a:t>ПАВЛОДАР ОБЛЫСЫНЫҢ ЕРТІС АУДАНЫНДА</a:t>
            </a:r>
          </a:p>
          <a:p>
            <a:pPr marL="5774" algn="ctr" defTabSz="913936" eaLnBrk="1" hangingPunct="1">
              <a:tabLst>
                <a:tab pos="206404" algn="l"/>
              </a:tabLst>
              <a:defRPr/>
            </a:pPr>
            <a:r>
              <a:rPr lang="ru-RU" sz="1800" b="1" kern="0" spc="5" dirty="0" smtClean="0">
                <a:solidFill>
                  <a:srgbClr val="006FCE"/>
                </a:solidFill>
                <a:cs typeface="Arial" panose="020B0604020202020204" pitchFamily="34" charset="0"/>
              </a:rPr>
              <a:t>«АУЫЛ – ЕЛ БЕСІГІ» ЖОБАСЫН ІСКЕ АСЫРУ ТУРАЛЫ</a:t>
            </a:r>
          </a:p>
          <a:p>
            <a:pPr marL="5774" algn="ctr" defTabSz="913936" eaLnBrk="1" hangingPunct="1">
              <a:tabLst>
                <a:tab pos="206404" algn="l"/>
              </a:tabLst>
              <a:defRPr/>
            </a:pPr>
            <a:endParaRPr lang="ru-RU" sz="1800" b="1" kern="0" spc="5" dirty="0">
              <a:solidFill>
                <a:srgbClr val="006FCE"/>
              </a:solidFill>
              <a:cs typeface="Arial" panose="020B0604020202020204" pitchFamily="34" charset="0"/>
            </a:endParaRPr>
          </a:p>
        </p:txBody>
      </p:sp>
      <p:sp>
        <p:nvSpPr>
          <p:cNvPr id="126" name="object 9"/>
          <p:cNvSpPr txBox="1"/>
          <p:nvPr/>
        </p:nvSpPr>
        <p:spPr>
          <a:xfrm>
            <a:off x="274378" y="863893"/>
            <a:ext cx="4136606" cy="220984"/>
          </a:xfrm>
          <a:prstGeom prst="rect">
            <a:avLst/>
          </a:prstGeom>
        </p:spPr>
        <p:txBody>
          <a:bodyPr lIns="0" tIns="5487" rIns="0" bIns="0">
            <a:spAutoFit/>
          </a:bodyPr>
          <a:lstStyle/>
          <a:p>
            <a:pPr marL="5774" algn="ctr" defTabSz="4157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spc="-5" dirty="0" smtClean="0">
                <a:solidFill>
                  <a:srgbClr val="008000"/>
                </a:solidFill>
                <a:latin typeface="Arial"/>
                <a:ea typeface="+mn-ea"/>
                <a:cs typeface="Arial"/>
              </a:rPr>
              <a:t>2019 </a:t>
            </a:r>
            <a:r>
              <a:rPr lang="ru-RU" b="1" spc="-5" dirty="0">
                <a:solidFill>
                  <a:srgbClr val="008000"/>
                </a:solidFill>
                <a:latin typeface="Arial"/>
                <a:ea typeface="+mn-ea"/>
                <a:cs typeface="Arial"/>
              </a:rPr>
              <a:t>– 2020 </a:t>
            </a:r>
            <a:r>
              <a:rPr lang="ru-RU" b="1" spc="-5" dirty="0" smtClean="0">
                <a:solidFill>
                  <a:srgbClr val="008000"/>
                </a:solidFill>
                <a:latin typeface="Arial"/>
                <a:ea typeface="+mn-ea"/>
                <a:cs typeface="Arial"/>
              </a:rPr>
              <a:t>ЖЫЛДАР </a:t>
            </a:r>
            <a:endParaRPr lang="ru-RU" b="1" spc="-5" dirty="0">
              <a:solidFill>
                <a:srgbClr val="008000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3087" name="object 37"/>
          <p:cNvSpPr txBox="1">
            <a:spLocks noChangeArrowheads="1"/>
          </p:cNvSpPr>
          <p:nvPr/>
        </p:nvSpPr>
        <p:spPr bwMode="auto">
          <a:xfrm>
            <a:off x="494607" y="2440951"/>
            <a:ext cx="3072309" cy="238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5197" rIns="0" bIns="0">
            <a:spAutoFit/>
          </a:bodyPr>
          <a:lstStyle>
            <a:lvl1pPr marL="127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415721" eaLnBrk="1" hangingPunct="1">
              <a:lnSpc>
                <a:spcPct val="101000"/>
              </a:lnSpc>
              <a:spcBef>
                <a:spcPts val="40"/>
              </a:spcBef>
            </a:pPr>
            <a:r>
              <a:rPr lang="ru-RU" sz="1500" b="1" dirty="0" smtClean="0">
                <a:solidFill>
                  <a:srgbClr val="008000"/>
                </a:solidFill>
                <a:ea typeface="+mn-ea"/>
              </a:rPr>
              <a:t>ЖҰМЫС ОРЫНДАРЫН ҚҰРУ</a:t>
            </a:r>
            <a:endParaRPr lang="ru-RU" sz="1500" b="1" dirty="0">
              <a:solidFill>
                <a:srgbClr val="008000"/>
              </a:solidFill>
              <a:ea typeface="+mn-ea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633231" y="1341701"/>
            <a:ext cx="3604457" cy="1062765"/>
            <a:chOff x="620965" y="1636043"/>
            <a:chExt cx="3604457" cy="966150"/>
          </a:xfrm>
        </p:grpSpPr>
        <p:sp>
          <p:nvSpPr>
            <p:cNvPr id="3079" name="object 39"/>
            <p:cNvSpPr>
              <a:spLocks noChangeArrowheads="1"/>
            </p:cNvSpPr>
            <p:nvPr/>
          </p:nvSpPr>
          <p:spPr bwMode="auto">
            <a:xfrm flipV="1">
              <a:off x="2596485" y="2051913"/>
              <a:ext cx="1628937" cy="69312"/>
            </a:xfrm>
            <a:custGeom>
              <a:avLst/>
              <a:gdLst>
                <a:gd name="T0" fmla="*/ 0 w 3094990"/>
                <a:gd name="T1" fmla="*/ 0 h 152400"/>
                <a:gd name="T2" fmla="*/ 3094990 w 3094990"/>
                <a:gd name="T3" fmla="*/ 152400 h 152400"/>
              </a:gdLst>
              <a:ahLst/>
              <a:cxnLst/>
              <a:rect l="T0" t="T1" r="T2" b="T3"/>
              <a:pathLst>
                <a:path w="3094990" h="152400">
                  <a:moveTo>
                    <a:pt x="3094494" y="0"/>
                  </a:moveTo>
                  <a:lnTo>
                    <a:pt x="0" y="0"/>
                  </a:lnTo>
                </a:path>
              </a:pathLst>
            </a:custGeom>
            <a:noFill/>
            <a:ln w="25400">
              <a:solidFill>
                <a:schemeClr val="tx2"/>
              </a:solidFill>
              <a:prstDash val="sys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defTabSz="415721" eaLnBrk="1" hangingPunct="1"/>
              <a:endParaRPr lang="ru-RU" sz="800">
                <a:solidFill>
                  <a:srgbClr val="006600"/>
                </a:solidFill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128" name="object 9"/>
            <p:cNvSpPr txBox="1"/>
            <p:nvPr/>
          </p:nvSpPr>
          <p:spPr>
            <a:xfrm>
              <a:off x="2492506" y="1636043"/>
              <a:ext cx="1203652" cy="467132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algn="ctr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3000" b="1" spc="-5" dirty="0">
                  <a:solidFill>
                    <a:srgbClr val="002060"/>
                  </a:solidFill>
                  <a:latin typeface="Arial"/>
                  <a:ea typeface="+mn-ea"/>
                  <a:cs typeface="Arial"/>
                </a:rPr>
                <a:t>540,8</a:t>
              </a:r>
            </a:p>
          </p:txBody>
        </p:sp>
        <p:sp>
          <p:nvSpPr>
            <p:cNvPr id="129" name="object 9"/>
            <p:cNvSpPr txBox="1"/>
            <p:nvPr/>
          </p:nvSpPr>
          <p:spPr>
            <a:xfrm>
              <a:off x="3623953" y="1710409"/>
              <a:ext cx="601465" cy="312814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1100" b="1" spc="-5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млн. </a:t>
              </a:r>
              <a:r>
                <a:rPr lang="kk-KZ" sz="1100" b="1" spc="-5" dirty="0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теңге</a:t>
              </a:r>
              <a:r>
                <a:rPr lang="ru-RU" sz="1100" b="1" spc="-5" dirty="0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 </a:t>
              </a:r>
              <a:endParaRPr lang="ru-RU" sz="1100" b="1" spc="-5" dirty="0">
                <a:solidFill>
                  <a:prstClr val="black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130" name="object 9"/>
            <p:cNvSpPr txBox="1"/>
            <p:nvPr/>
          </p:nvSpPr>
          <p:spPr>
            <a:xfrm>
              <a:off x="2618864" y="2121225"/>
              <a:ext cx="601465" cy="467132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3000" b="1" spc="-5" dirty="0">
                  <a:solidFill>
                    <a:srgbClr val="002060"/>
                  </a:solidFill>
                  <a:latin typeface="Arial"/>
                  <a:ea typeface="+mn-ea"/>
                  <a:cs typeface="Arial"/>
                </a:rPr>
                <a:t>13</a:t>
              </a:r>
            </a:p>
          </p:txBody>
        </p:sp>
        <p:sp>
          <p:nvSpPr>
            <p:cNvPr id="131" name="object 9"/>
            <p:cNvSpPr txBox="1"/>
            <p:nvPr/>
          </p:nvSpPr>
          <p:spPr>
            <a:xfrm>
              <a:off x="2987107" y="2307502"/>
              <a:ext cx="1203652" cy="214885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1500" b="1" spc="-5" dirty="0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   </a:t>
              </a:r>
              <a:r>
                <a:rPr lang="kk-KZ" sz="1500" b="1" spc="-5" dirty="0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жоба</a:t>
              </a:r>
              <a:endParaRPr lang="kk-KZ" sz="1500" b="1" spc="-5" dirty="0">
                <a:solidFill>
                  <a:prstClr val="black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138" name="object 9"/>
            <p:cNvSpPr txBox="1"/>
            <p:nvPr/>
          </p:nvSpPr>
          <p:spPr>
            <a:xfrm>
              <a:off x="655618" y="1636043"/>
              <a:ext cx="335752" cy="467132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3000" b="1" spc="-5" dirty="0">
                  <a:solidFill>
                    <a:srgbClr val="002060"/>
                  </a:solidFill>
                  <a:latin typeface="Arial"/>
                  <a:ea typeface="+mn-ea"/>
                  <a:cs typeface="Arial"/>
                </a:rPr>
                <a:t>2</a:t>
              </a:r>
            </a:p>
          </p:txBody>
        </p:sp>
        <p:sp>
          <p:nvSpPr>
            <p:cNvPr id="1024" name="Прямоугольник 1023"/>
            <p:cNvSpPr/>
            <p:nvPr/>
          </p:nvSpPr>
          <p:spPr>
            <a:xfrm>
              <a:off x="914113" y="1703192"/>
              <a:ext cx="515156" cy="192045"/>
            </a:xfrm>
            <a:prstGeom prst="rect">
              <a:avLst/>
            </a:prstGeom>
          </p:spPr>
          <p:txBody>
            <a:bodyPr wrap="none" lIns="41568" tIns="20783" rIns="41568" bIns="20783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1100" b="1" spc="-5" dirty="0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АУЫЛ</a:t>
              </a:r>
              <a:endParaRPr lang="ru-RU" sz="1100" b="1" spc="-5" dirty="0">
                <a:solidFill>
                  <a:prstClr val="black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140" name="Прямоугольник 139"/>
            <p:cNvSpPr/>
            <p:nvPr/>
          </p:nvSpPr>
          <p:spPr>
            <a:xfrm>
              <a:off x="896787" y="1869973"/>
              <a:ext cx="1382380" cy="164065"/>
            </a:xfrm>
            <a:prstGeom prst="rect">
              <a:avLst/>
            </a:prstGeom>
          </p:spPr>
          <p:txBody>
            <a:bodyPr wrap="none" lIns="41568" tIns="20783" rIns="41568" bIns="20783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kk-KZ" sz="900" b="1" i="1" spc="-5" dirty="0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Ертіс және Ағашорын</a:t>
              </a:r>
              <a:endParaRPr lang="kk-KZ" sz="900" b="1" i="1" spc="-5" dirty="0">
                <a:solidFill>
                  <a:prstClr val="black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150" name="object 9"/>
            <p:cNvSpPr txBox="1"/>
            <p:nvPr/>
          </p:nvSpPr>
          <p:spPr>
            <a:xfrm>
              <a:off x="898229" y="2181154"/>
              <a:ext cx="601465" cy="421039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2700" b="1" spc="-5" dirty="0">
                  <a:solidFill>
                    <a:srgbClr val="002060"/>
                  </a:solidFill>
                  <a:latin typeface="Arial"/>
                  <a:ea typeface="+mn-ea"/>
                  <a:cs typeface="Arial"/>
                </a:rPr>
                <a:t>8,2</a:t>
              </a:r>
            </a:p>
          </p:txBody>
        </p:sp>
        <p:sp>
          <p:nvSpPr>
            <p:cNvPr id="1029" name="Прямоугольник 1028"/>
            <p:cNvSpPr/>
            <p:nvPr/>
          </p:nvSpPr>
          <p:spPr>
            <a:xfrm>
              <a:off x="1408713" y="2215809"/>
              <a:ext cx="727823" cy="327222"/>
            </a:xfrm>
            <a:prstGeom prst="rect">
              <a:avLst/>
            </a:prstGeom>
          </p:spPr>
          <p:txBody>
            <a:bodyPr lIns="41568" tIns="20783" rIns="41568" bIns="20783">
              <a:spAutoFit/>
            </a:bodyPr>
            <a:lstStyle/>
            <a:p>
              <a:pPr marL="5774" defTabSz="415721" eaLnBrk="1" fontAlgn="auto" hangingPunct="1">
                <a:lnSpc>
                  <a:spcPts val="1262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k-KZ" sz="900" b="1" i="1" spc="-5" dirty="0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мың </a:t>
              </a:r>
            </a:p>
            <a:p>
              <a:pPr marL="5774" defTabSz="415721" eaLnBrk="1" fontAlgn="auto" hangingPunct="1">
                <a:lnSpc>
                  <a:spcPts val="1262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k-KZ" sz="900" b="1" i="1" spc="-5" dirty="0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адам</a:t>
              </a:r>
              <a:endParaRPr lang="kk-KZ" sz="900" b="1" i="1" spc="-5" dirty="0">
                <a:solidFill>
                  <a:prstClr val="black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3096" name="object 39"/>
            <p:cNvSpPr>
              <a:spLocks noChangeArrowheads="1"/>
            </p:cNvSpPr>
            <p:nvPr/>
          </p:nvSpPr>
          <p:spPr bwMode="auto">
            <a:xfrm flipV="1">
              <a:off x="620965" y="2051913"/>
              <a:ext cx="1628937" cy="69312"/>
            </a:xfrm>
            <a:custGeom>
              <a:avLst/>
              <a:gdLst>
                <a:gd name="T0" fmla="*/ 0 w 3094990"/>
                <a:gd name="T1" fmla="*/ 0 h 152400"/>
                <a:gd name="T2" fmla="*/ 3094990 w 3094990"/>
                <a:gd name="T3" fmla="*/ 152400 h 152400"/>
              </a:gdLst>
              <a:ahLst/>
              <a:cxnLst/>
              <a:rect l="T0" t="T1" r="T2" b="T3"/>
              <a:pathLst>
                <a:path w="3094990" h="152400">
                  <a:moveTo>
                    <a:pt x="3094494" y="0"/>
                  </a:moveTo>
                  <a:lnTo>
                    <a:pt x="0" y="0"/>
                  </a:lnTo>
                </a:path>
              </a:pathLst>
            </a:custGeom>
            <a:noFill/>
            <a:ln w="25400">
              <a:solidFill>
                <a:schemeClr val="tx2"/>
              </a:solidFill>
              <a:prstDash val="sys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defTabSz="415721" eaLnBrk="1" hangingPunct="1"/>
              <a:endParaRPr lang="ru-RU" sz="800">
                <a:solidFill>
                  <a:srgbClr val="006600"/>
                </a:solidFill>
                <a:latin typeface="Calibri" pitchFamily="34" charset="0"/>
                <a:ea typeface="+mn-ea"/>
                <a:cs typeface="Arial" charset="0"/>
              </a:endParaRPr>
            </a:p>
          </p:txBody>
        </p:sp>
      </p:grpSp>
      <p:grpSp>
        <p:nvGrpSpPr>
          <p:cNvPr id="4" name="Группа 3"/>
          <p:cNvGrpSpPr/>
          <p:nvPr/>
        </p:nvGrpSpPr>
        <p:grpSpPr>
          <a:xfrm>
            <a:off x="482328" y="2762339"/>
            <a:ext cx="3928658" cy="644739"/>
            <a:chOff x="482328" y="2987623"/>
            <a:chExt cx="3928658" cy="644739"/>
          </a:xfrm>
        </p:grpSpPr>
        <p:sp>
          <p:nvSpPr>
            <p:cNvPr id="3088" name="object 35"/>
            <p:cNvSpPr>
              <a:spLocks noChangeArrowheads="1"/>
            </p:cNvSpPr>
            <p:nvPr/>
          </p:nvSpPr>
          <p:spPr bwMode="auto">
            <a:xfrm flipV="1">
              <a:off x="516985" y="3195554"/>
              <a:ext cx="3673774" cy="69312"/>
            </a:xfrm>
            <a:custGeom>
              <a:avLst/>
              <a:gdLst>
                <a:gd name="T0" fmla="*/ 0 w 4923790"/>
                <a:gd name="T1" fmla="*/ 0 h 152400"/>
                <a:gd name="T2" fmla="*/ 4923790 w 4923790"/>
                <a:gd name="T3" fmla="*/ 152400 h 152400"/>
              </a:gdLst>
              <a:ahLst/>
              <a:cxnLst/>
              <a:rect l="T0" t="T1" r="T2" b="T3"/>
              <a:pathLst>
                <a:path w="4923790" h="152400">
                  <a:moveTo>
                    <a:pt x="0" y="0"/>
                  </a:moveTo>
                  <a:lnTo>
                    <a:pt x="4923399" y="0"/>
                  </a:lnTo>
                </a:path>
              </a:pathLst>
            </a:custGeom>
            <a:noFill/>
            <a:ln w="20941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defTabSz="415721" eaLnBrk="1" hangingPunct="1"/>
              <a:endParaRPr lang="ru-RU" sz="500">
                <a:solidFill>
                  <a:prstClr val="black"/>
                </a:solidFill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143" name="object 38"/>
            <p:cNvSpPr txBox="1"/>
            <p:nvPr/>
          </p:nvSpPr>
          <p:spPr>
            <a:xfrm>
              <a:off x="516990" y="3299526"/>
              <a:ext cx="678147" cy="109007"/>
            </a:xfrm>
            <a:prstGeom prst="rect">
              <a:avLst/>
            </a:prstGeom>
          </p:spPr>
          <p:txBody>
            <a:bodyPr wrap="square" lIns="0" tIns="6353" rIns="0" bIns="0">
              <a:spAutoFit/>
            </a:bodyPr>
            <a:lstStyle/>
            <a:p>
              <a:pPr marL="15012" defTabSz="415721" eaLnBrk="1" fontAlgn="auto" hangingPunct="1">
                <a:lnSpc>
                  <a:spcPts val="816"/>
                </a:lnSpc>
                <a:spcBef>
                  <a:spcPts val="50"/>
                </a:spcBef>
                <a:spcAft>
                  <a:spcPts val="0"/>
                </a:spcAft>
                <a:defRPr/>
              </a:pPr>
              <a:r>
                <a:rPr lang="kk-KZ" sz="700" i="1" spc="2" dirty="0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оның ішінде;</a:t>
              </a:r>
              <a:endParaRPr sz="700" i="1" dirty="0">
                <a:solidFill>
                  <a:prstClr val="black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3090" name="object 39"/>
            <p:cNvSpPr>
              <a:spLocks noChangeArrowheads="1"/>
            </p:cNvSpPr>
            <p:nvPr/>
          </p:nvSpPr>
          <p:spPr bwMode="auto">
            <a:xfrm>
              <a:off x="516985" y="3611424"/>
              <a:ext cx="3673774" cy="20938"/>
            </a:xfrm>
            <a:custGeom>
              <a:avLst/>
              <a:gdLst>
                <a:gd name="T0" fmla="*/ 0 w 4923790"/>
                <a:gd name="T1" fmla="*/ 0 h 45719"/>
                <a:gd name="T2" fmla="*/ 4923790 w 4923790"/>
                <a:gd name="T3" fmla="*/ 45719 h 45719"/>
              </a:gdLst>
              <a:ahLst/>
              <a:cxnLst/>
              <a:rect l="T0" t="T1" r="T2" b="T3"/>
              <a:pathLst>
                <a:path w="4923790" h="45719">
                  <a:moveTo>
                    <a:pt x="0" y="0"/>
                  </a:moveTo>
                  <a:lnTo>
                    <a:pt x="4923399" y="0"/>
                  </a:lnTo>
                </a:path>
              </a:pathLst>
            </a:custGeom>
            <a:noFill/>
            <a:ln w="20941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defTabSz="415721" eaLnBrk="1" hangingPunct="1"/>
              <a:endParaRPr lang="ru-RU" sz="500">
                <a:solidFill>
                  <a:prstClr val="black"/>
                </a:solidFill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1025" name="Прямоугольник 1024"/>
            <p:cNvSpPr/>
            <p:nvPr/>
          </p:nvSpPr>
          <p:spPr>
            <a:xfrm>
              <a:off x="482330" y="3100254"/>
              <a:ext cx="614542" cy="165083"/>
            </a:xfrm>
            <a:prstGeom prst="rect">
              <a:avLst/>
            </a:prstGeom>
          </p:spPr>
          <p:txBody>
            <a:bodyPr wrap="none" lIns="41568" tIns="20783" rIns="41568" bIns="20783">
              <a:spAutoFit/>
            </a:bodyPr>
            <a:lstStyle/>
            <a:p>
              <a:pPr marL="11547" defTabSz="415721" eaLnBrk="1" fontAlgn="auto" hangingPunct="1">
                <a:spcBef>
                  <a:spcPts val="923"/>
                </a:spcBef>
                <a:spcAft>
                  <a:spcPts val="0"/>
                </a:spcAft>
                <a:defRPr/>
              </a:pPr>
              <a:r>
                <a:rPr lang="ru-RU" sz="800" i="1" spc="5" dirty="0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БАРЛЫҒЫ</a:t>
              </a:r>
              <a:endParaRPr lang="ru-RU" sz="800" i="1" spc="5" dirty="0">
                <a:solidFill>
                  <a:prstClr val="black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1027" name="Прямоугольник 1026"/>
            <p:cNvSpPr/>
            <p:nvPr/>
          </p:nvSpPr>
          <p:spPr>
            <a:xfrm>
              <a:off x="482328" y="3438147"/>
              <a:ext cx="1708110" cy="165083"/>
            </a:xfrm>
            <a:prstGeom prst="rect">
              <a:avLst/>
            </a:prstGeom>
          </p:spPr>
          <p:txBody>
            <a:bodyPr wrap="none" lIns="41568" tIns="20783" rIns="41568" bIns="20783">
              <a:spAutoFit/>
            </a:bodyPr>
            <a:lstStyle/>
            <a:p>
              <a:pPr defTabSz="41572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800" i="1" spc="5" dirty="0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ЖҰМЫСПЕН ҚАМТУ ОРТАЛЫҒЫ</a:t>
              </a:r>
              <a:endParaRPr lang="ru-RU" sz="800" i="1" spc="5" dirty="0">
                <a:solidFill>
                  <a:prstClr val="black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3093" name="object 9"/>
            <p:cNvSpPr txBox="1">
              <a:spLocks noChangeArrowheads="1"/>
            </p:cNvSpPr>
            <p:nvPr/>
          </p:nvSpPr>
          <p:spPr bwMode="auto">
            <a:xfrm>
              <a:off x="3809521" y="2987623"/>
              <a:ext cx="601465" cy="2517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5487" rIns="0" bIns="0">
              <a:spAutoFit/>
            </a:bodyPr>
            <a:lstStyle>
              <a:lvl1pPr marL="127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415721" eaLnBrk="1" hangingPunct="1">
                <a:spcBef>
                  <a:spcPts val="45"/>
                </a:spcBef>
              </a:pPr>
              <a:r>
                <a:rPr lang="ru-RU" sz="1600" b="1">
                  <a:solidFill>
                    <a:srgbClr val="008000"/>
                  </a:solidFill>
                  <a:ea typeface="+mn-ea"/>
                </a:rPr>
                <a:t>96</a:t>
              </a:r>
            </a:p>
          </p:txBody>
        </p:sp>
        <p:sp>
          <p:nvSpPr>
            <p:cNvPr id="3097" name="object 9"/>
            <p:cNvSpPr txBox="1">
              <a:spLocks noChangeArrowheads="1"/>
            </p:cNvSpPr>
            <p:nvPr/>
          </p:nvSpPr>
          <p:spPr bwMode="auto">
            <a:xfrm>
              <a:off x="3809521" y="3353672"/>
              <a:ext cx="601465" cy="2517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5487" rIns="0" bIns="0">
              <a:spAutoFit/>
            </a:bodyPr>
            <a:lstStyle>
              <a:lvl1pPr marL="127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415721" eaLnBrk="1" hangingPunct="1">
                <a:spcBef>
                  <a:spcPts val="45"/>
                </a:spcBef>
              </a:pPr>
              <a:r>
                <a:rPr lang="ru-RU" sz="1600" b="1">
                  <a:solidFill>
                    <a:srgbClr val="008000"/>
                  </a:solidFill>
                  <a:ea typeface="+mn-ea"/>
                </a:rPr>
                <a:t>51</a:t>
              </a:r>
            </a:p>
          </p:txBody>
        </p:sp>
      </p:grpSp>
      <p:sp>
        <p:nvSpPr>
          <p:cNvPr id="162" name="object 9"/>
          <p:cNvSpPr txBox="1"/>
          <p:nvPr/>
        </p:nvSpPr>
        <p:spPr>
          <a:xfrm>
            <a:off x="863573" y="4406342"/>
            <a:ext cx="207949" cy="374872"/>
          </a:xfrm>
          <a:prstGeom prst="rect">
            <a:avLst/>
          </a:prstGeom>
        </p:spPr>
        <p:txBody>
          <a:bodyPr lIns="0" tIns="5487" rIns="0" bIns="0">
            <a:spAutoFit/>
          </a:bodyPr>
          <a:lstStyle/>
          <a:p>
            <a:pPr marL="5774" defTabSz="415721" eaLnBrk="1" fontAlgn="auto" hangingPunct="1">
              <a:spcBef>
                <a:spcPts val="43"/>
              </a:spcBef>
              <a:spcAft>
                <a:spcPts val="0"/>
              </a:spcAft>
              <a:defRPr/>
            </a:pPr>
            <a:r>
              <a:rPr lang="ru-RU" sz="2400" b="1" spc="-5" dirty="0">
                <a:solidFill>
                  <a:prstClr val="white"/>
                </a:solidFill>
                <a:latin typeface="Arial"/>
                <a:ea typeface="+mn-ea"/>
                <a:cs typeface="Arial"/>
              </a:rPr>
              <a:t>1</a:t>
            </a:r>
          </a:p>
        </p:txBody>
      </p:sp>
      <p:sp>
        <p:nvSpPr>
          <p:cNvPr id="163" name="object 9"/>
          <p:cNvSpPr txBox="1"/>
          <p:nvPr/>
        </p:nvSpPr>
        <p:spPr>
          <a:xfrm>
            <a:off x="1036859" y="4554353"/>
            <a:ext cx="1247697" cy="144040"/>
          </a:xfrm>
          <a:prstGeom prst="rect">
            <a:avLst/>
          </a:prstGeom>
        </p:spPr>
        <p:txBody>
          <a:bodyPr lIns="0" tIns="5487" rIns="0" bIns="0">
            <a:spAutoFit/>
          </a:bodyPr>
          <a:lstStyle/>
          <a:p>
            <a:pPr marL="5774" defTabSz="415721" eaLnBrk="1" fontAlgn="auto" hangingPunct="1">
              <a:spcBef>
                <a:spcPts val="43"/>
              </a:spcBef>
              <a:spcAft>
                <a:spcPts val="0"/>
              </a:spcAft>
              <a:defRPr/>
            </a:pPr>
            <a:r>
              <a:rPr lang="ru-RU" sz="900" b="1" i="1" spc="-5" dirty="0" smtClean="0">
                <a:solidFill>
                  <a:prstClr val="white"/>
                </a:solidFill>
                <a:latin typeface="Arial"/>
                <a:ea typeface="+mn-ea"/>
                <a:cs typeface="Arial"/>
              </a:rPr>
              <a:t>БЮДЖЕТТІК ТЕҢГЕ</a:t>
            </a:r>
            <a:endParaRPr lang="ru-RU" sz="900" b="1" spc="-5" dirty="0">
              <a:solidFill>
                <a:prstClr val="white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168" name="object 9"/>
          <p:cNvSpPr txBox="1"/>
          <p:nvPr/>
        </p:nvSpPr>
        <p:spPr>
          <a:xfrm>
            <a:off x="2527166" y="4389658"/>
            <a:ext cx="601465" cy="374872"/>
          </a:xfrm>
          <a:prstGeom prst="rect">
            <a:avLst/>
          </a:prstGeom>
        </p:spPr>
        <p:txBody>
          <a:bodyPr lIns="0" tIns="5487" rIns="0" bIns="0">
            <a:spAutoFit/>
          </a:bodyPr>
          <a:lstStyle/>
          <a:p>
            <a:pPr marL="5774" defTabSz="415721" eaLnBrk="1" fontAlgn="auto" hangingPunct="1">
              <a:spcBef>
                <a:spcPts val="43"/>
              </a:spcBef>
              <a:spcAft>
                <a:spcPts val="0"/>
              </a:spcAft>
              <a:defRPr/>
            </a:pPr>
            <a:r>
              <a:rPr lang="ru-RU" sz="2400" b="1" spc="-5" dirty="0">
                <a:solidFill>
                  <a:srgbClr val="00B050"/>
                </a:solidFill>
                <a:latin typeface="Arial"/>
                <a:ea typeface="+mn-ea"/>
                <a:cs typeface="Arial"/>
              </a:rPr>
              <a:t>5</a:t>
            </a:r>
          </a:p>
        </p:txBody>
      </p:sp>
      <p:grpSp>
        <p:nvGrpSpPr>
          <p:cNvPr id="8" name="Группа 7"/>
          <p:cNvGrpSpPr/>
          <p:nvPr/>
        </p:nvGrpSpPr>
        <p:grpSpPr>
          <a:xfrm>
            <a:off x="2966170" y="4438847"/>
            <a:ext cx="930655" cy="276495"/>
            <a:chOff x="2966170" y="4451832"/>
            <a:chExt cx="930655" cy="276495"/>
          </a:xfrm>
        </p:grpSpPr>
        <p:sp>
          <p:nvSpPr>
            <p:cNvPr id="157" name="object 9"/>
            <p:cNvSpPr txBox="1"/>
            <p:nvPr/>
          </p:nvSpPr>
          <p:spPr>
            <a:xfrm>
              <a:off x="3013823" y="4451832"/>
              <a:ext cx="865012" cy="144040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900" b="1" spc="-5" dirty="0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ТЕҢГЕ</a:t>
              </a:r>
              <a:endParaRPr lang="ru-RU" sz="800" b="1" spc="-5" dirty="0">
                <a:solidFill>
                  <a:prstClr val="black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1037" name="Прямоугольник 1036"/>
            <p:cNvSpPr/>
            <p:nvPr/>
          </p:nvSpPr>
          <p:spPr>
            <a:xfrm>
              <a:off x="2966170" y="4547856"/>
              <a:ext cx="930655" cy="180471"/>
            </a:xfrm>
            <a:prstGeom prst="rect">
              <a:avLst/>
            </a:prstGeom>
          </p:spPr>
          <p:txBody>
            <a:bodyPr wrap="none" lIns="41568" tIns="20783" rIns="41568" bIns="20783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900" b="1" spc="-5" dirty="0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ИНВЕСТИЦИЯ </a:t>
              </a:r>
              <a:endParaRPr lang="ru-RU" sz="900" b="1" spc="-5" dirty="0">
                <a:solidFill>
                  <a:prstClr val="black"/>
                </a:solidFill>
                <a:latin typeface="Arial"/>
                <a:ea typeface="+mn-ea"/>
                <a:cs typeface="Arial"/>
              </a:endParaRPr>
            </a:p>
          </p:txBody>
        </p:sp>
      </p:grpSp>
      <p:grpSp>
        <p:nvGrpSpPr>
          <p:cNvPr id="6" name="Группа 5"/>
          <p:cNvGrpSpPr/>
          <p:nvPr/>
        </p:nvGrpSpPr>
        <p:grpSpPr>
          <a:xfrm>
            <a:off x="378352" y="3754427"/>
            <a:ext cx="4055015" cy="538900"/>
            <a:chOff x="378352" y="3765641"/>
            <a:chExt cx="4055015" cy="538900"/>
          </a:xfrm>
        </p:grpSpPr>
        <p:sp>
          <p:nvSpPr>
            <p:cNvPr id="3098" name="object 37"/>
            <p:cNvSpPr txBox="1">
              <a:spLocks noChangeArrowheads="1"/>
            </p:cNvSpPr>
            <p:nvPr/>
          </p:nvSpPr>
          <p:spPr bwMode="auto">
            <a:xfrm>
              <a:off x="447669" y="3806367"/>
              <a:ext cx="1514132" cy="4715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5197" rIns="0" bIns="0">
              <a:spAutoFit/>
            </a:bodyPr>
            <a:lstStyle>
              <a:lvl1pPr marL="127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415721" eaLnBrk="1" hangingPunct="1">
                <a:lnSpc>
                  <a:spcPct val="101000"/>
                </a:lnSpc>
                <a:spcBef>
                  <a:spcPts val="40"/>
                </a:spcBef>
              </a:pPr>
              <a:r>
                <a:rPr lang="ru-RU" sz="1500" b="1" dirty="0" smtClean="0">
                  <a:solidFill>
                    <a:srgbClr val="C0504D"/>
                  </a:solidFill>
                  <a:ea typeface="+mn-ea"/>
                </a:rPr>
                <a:t>ЖЕКЕ</a:t>
              </a:r>
              <a:endParaRPr lang="ru-RU" sz="1500" b="1" dirty="0">
                <a:solidFill>
                  <a:srgbClr val="C0504D"/>
                </a:solidFill>
                <a:ea typeface="+mn-ea"/>
              </a:endParaRPr>
            </a:p>
            <a:p>
              <a:pPr defTabSz="415721" eaLnBrk="1" hangingPunct="1">
                <a:lnSpc>
                  <a:spcPct val="101000"/>
                </a:lnSpc>
                <a:spcBef>
                  <a:spcPts val="40"/>
                </a:spcBef>
              </a:pPr>
              <a:r>
                <a:rPr lang="ru-RU" sz="1500" b="1" dirty="0" smtClean="0">
                  <a:solidFill>
                    <a:srgbClr val="C0504D"/>
                  </a:solidFill>
                  <a:ea typeface="+mn-ea"/>
                </a:rPr>
                <a:t>ИНВЕСТИЦИЯ</a:t>
              </a:r>
              <a:endParaRPr lang="ru-RU" sz="1500" b="1" dirty="0">
                <a:solidFill>
                  <a:srgbClr val="C0504D"/>
                </a:solidFill>
                <a:ea typeface="+mn-ea"/>
              </a:endParaRPr>
            </a:p>
          </p:txBody>
        </p:sp>
        <p:cxnSp>
          <p:nvCxnSpPr>
            <p:cNvPr id="1031" name="Прямая соединительная линия 1030"/>
            <p:cNvCxnSpPr/>
            <p:nvPr/>
          </p:nvCxnSpPr>
          <p:spPr>
            <a:xfrm>
              <a:off x="378357" y="4293711"/>
              <a:ext cx="3777749" cy="1083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05" name="object 39"/>
            <p:cNvSpPr>
              <a:spLocks noChangeArrowheads="1"/>
            </p:cNvSpPr>
            <p:nvPr/>
          </p:nvSpPr>
          <p:spPr bwMode="auto">
            <a:xfrm flipV="1">
              <a:off x="2180581" y="3923326"/>
              <a:ext cx="1975520" cy="69312"/>
            </a:xfrm>
            <a:custGeom>
              <a:avLst/>
              <a:gdLst>
                <a:gd name="T0" fmla="*/ 0 w 3094990"/>
                <a:gd name="T1" fmla="*/ 0 h 152400"/>
                <a:gd name="T2" fmla="*/ 3094990 w 3094990"/>
                <a:gd name="T3" fmla="*/ 152400 h 152400"/>
              </a:gdLst>
              <a:ahLst/>
              <a:cxnLst/>
              <a:rect l="T0" t="T1" r="T2" b="T3"/>
              <a:pathLst>
                <a:path w="3094990" h="152400">
                  <a:moveTo>
                    <a:pt x="3094494" y="0"/>
                  </a:moveTo>
                  <a:lnTo>
                    <a:pt x="0" y="0"/>
                  </a:lnTo>
                </a:path>
              </a:pathLst>
            </a:custGeom>
            <a:noFill/>
            <a:ln w="25400">
              <a:solidFill>
                <a:schemeClr val="tx2"/>
              </a:solidFill>
              <a:prstDash val="sys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defTabSz="415721" eaLnBrk="1" hangingPunct="1"/>
              <a:endParaRPr lang="ru-RU" sz="800">
                <a:solidFill>
                  <a:srgbClr val="006600"/>
                </a:solidFill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106" name="object 9"/>
            <p:cNvSpPr txBox="1">
              <a:spLocks noChangeArrowheads="1"/>
            </p:cNvSpPr>
            <p:nvPr/>
          </p:nvSpPr>
          <p:spPr bwMode="auto">
            <a:xfrm>
              <a:off x="3081696" y="3765641"/>
              <a:ext cx="462832" cy="2209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5487" rIns="0" bIns="0">
              <a:spAutoFit/>
            </a:bodyPr>
            <a:lstStyle>
              <a:lvl1pPr marL="127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415721" eaLnBrk="1" hangingPunct="1">
                <a:spcBef>
                  <a:spcPts val="45"/>
                </a:spcBef>
              </a:pPr>
              <a:r>
                <a:rPr lang="ru-RU" b="1" dirty="0">
                  <a:solidFill>
                    <a:srgbClr val="002060"/>
                  </a:solidFill>
                  <a:ea typeface="+mn-ea"/>
                </a:rPr>
                <a:t>7</a:t>
              </a:r>
            </a:p>
          </p:txBody>
        </p:sp>
        <p:sp>
          <p:nvSpPr>
            <p:cNvPr id="173" name="object 9"/>
            <p:cNvSpPr txBox="1"/>
            <p:nvPr/>
          </p:nvSpPr>
          <p:spPr>
            <a:xfrm>
              <a:off x="3423219" y="3819362"/>
              <a:ext cx="767540" cy="174818"/>
            </a:xfrm>
            <a:prstGeom prst="rect">
              <a:avLst/>
            </a:prstGeom>
          </p:spPr>
          <p:txBody>
            <a:bodyPr wrap="square" lIns="0" tIns="5487" rIns="0" bIns="0">
              <a:spAutoFit/>
            </a:bodyPr>
            <a:lstStyle/>
            <a:p>
              <a:pPr marL="5774" algn="ctr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kk-KZ" sz="1100" b="1" i="1" spc="-5" dirty="0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жоба</a:t>
              </a:r>
              <a:endParaRPr lang="kk-KZ" sz="1100" b="1" i="1" spc="-5" dirty="0">
                <a:solidFill>
                  <a:prstClr val="black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3108" name="object 9"/>
            <p:cNvSpPr txBox="1">
              <a:spLocks noChangeArrowheads="1"/>
            </p:cNvSpPr>
            <p:nvPr/>
          </p:nvSpPr>
          <p:spPr bwMode="auto">
            <a:xfrm>
              <a:off x="3006879" y="4077546"/>
              <a:ext cx="462832" cy="2209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5487" rIns="0" bIns="0">
              <a:spAutoFit/>
            </a:bodyPr>
            <a:lstStyle>
              <a:lvl1pPr marL="127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415721" eaLnBrk="1" hangingPunct="1">
                <a:spcBef>
                  <a:spcPts val="45"/>
                </a:spcBef>
              </a:pPr>
              <a:r>
                <a:rPr lang="ru-RU" b="1" dirty="0">
                  <a:solidFill>
                    <a:srgbClr val="002060"/>
                  </a:solidFill>
                  <a:ea typeface="+mn-ea"/>
                </a:rPr>
                <a:t>2,5</a:t>
              </a:r>
            </a:p>
          </p:txBody>
        </p:sp>
        <p:sp>
          <p:nvSpPr>
            <p:cNvPr id="175" name="object 9"/>
            <p:cNvSpPr txBox="1"/>
            <p:nvPr/>
          </p:nvSpPr>
          <p:spPr>
            <a:xfrm>
              <a:off x="3229715" y="4124044"/>
              <a:ext cx="1203652" cy="167123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algn="ctr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1050" b="1" i="1" spc="-5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млрд. </a:t>
              </a:r>
              <a:r>
                <a:rPr lang="kk-KZ" sz="1050" b="1" i="1" spc="-5" dirty="0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теңге</a:t>
              </a:r>
              <a:endParaRPr lang="kk-KZ" sz="1050" b="1" i="1" spc="-5" dirty="0">
                <a:solidFill>
                  <a:prstClr val="black"/>
                </a:solidFill>
                <a:latin typeface="Arial"/>
                <a:ea typeface="+mn-ea"/>
                <a:cs typeface="Arial"/>
              </a:endParaRPr>
            </a:p>
          </p:txBody>
        </p:sp>
        <p:cxnSp>
          <p:nvCxnSpPr>
            <p:cNvPr id="1040" name="Прямая соединительная линия 1039"/>
            <p:cNvCxnSpPr/>
            <p:nvPr/>
          </p:nvCxnSpPr>
          <p:spPr>
            <a:xfrm>
              <a:off x="378352" y="3871343"/>
              <a:ext cx="0" cy="42236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1" name="Прямоугольник с двумя вырезанными противолежащими углами 180"/>
          <p:cNvSpPr/>
          <p:nvPr/>
        </p:nvSpPr>
        <p:spPr>
          <a:xfrm rot="16200000">
            <a:off x="4619286" y="678013"/>
            <a:ext cx="4237707" cy="4193648"/>
          </a:xfrm>
          <a:prstGeom prst="snip2DiagRect">
            <a:avLst>
              <a:gd name="adj1" fmla="val 0"/>
              <a:gd name="adj2" fmla="val 8907"/>
            </a:avLst>
          </a:prstGeom>
          <a:ln w="28514">
            <a:solidFill>
              <a:srgbClr val="385D8A"/>
            </a:solidFill>
          </a:ln>
        </p:spPr>
        <p:txBody>
          <a:bodyPr wrap="square" lIns="0" tIns="0" rIns="0" bIns="0" rtlCol="0"/>
          <a:lstStyle/>
          <a:p>
            <a:pPr defTabSz="405409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800">
              <a:solidFill>
                <a:prstClr val="black"/>
              </a:solidFill>
              <a:latin typeface="Calibri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82" name="object 9"/>
          <p:cNvSpPr txBox="1"/>
          <p:nvPr/>
        </p:nvSpPr>
        <p:spPr>
          <a:xfrm>
            <a:off x="4641316" y="863893"/>
            <a:ext cx="4193648" cy="220984"/>
          </a:xfrm>
          <a:prstGeom prst="rect">
            <a:avLst/>
          </a:prstGeom>
        </p:spPr>
        <p:txBody>
          <a:bodyPr lIns="0" tIns="5487" rIns="0" bIns="0">
            <a:spAutoFit/>
          </a:bodyPr>
          <a:lstStyle/>
          <a:p>
            <a:pPr marL="5774" algn="ctr" defTabSz="4157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spc="-5" dirty="0" smtClean="0">
                <a:solidFill>
                  <a:srgbClr val="008000"/>
                </a:solidFill>
                <a:latin typeface="Arial"/>
                <a:ea typeface="+mn-ea"/>
                <a:cs typeface="Arial"/>
              </a:rPr>
              <a:t>2021 ЖЫЛЫ </a:t>
            </a:r>
            <a:endParaRPr lang="ru-RU" b="1" spc="-5" dirty="0">
              <a:solidFill>
                <a:srgbClr val="008000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3121" name="object 37"/>
          <p:cNvSpPr txBox="1">
            <a:spLocks noChangeArrowheads="1"/>
          </p:cNvSpPr>
          <p:nvPr/>
        </p:nvSpPr>
        <p:spPr bwMode="auto">
          <a:xfrm>
            <a:off x="4779950" y="2440952"/>
            <a:ext cx="2894690" cy="2238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5197" rIns="0" bIns="0">
            <a:spAutoFit/>
          </a:bodyPr>
          <a:lstStyle>
            <a:lvl1pPr marL="127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415721" eaLnBrk="1" hangingPunct="1">
              <a:lnSpc>
                <a:spcPct val="101000"/>
              </a:lnSpc>
              <a:spcBef>
                <a:spcPts val="40"/>
              </a:spcBef>
            </a:pPr>
            <a:r>
              <a:rPr lang="ru-RU" sz="1500" b="1" dirty="0" smtClean="0">
                <a:solidFill>
                  <a:srgbClr val="008000"/>
                </a:solidFill>
              </a:rPr>
              <a:t>ЖҰМЫС ОРЫНДАРЫН ҚҰРУ</a:t>
            </a:r>
            <a:endParaRPr lang="ru-RU" sz="1500" b="1" dirty="0">
              <a:solidFill>
                <a:srgbClr val="008000"/>
              </a:solidFill>
            </a:endParaRPr>
          </a:p>
        </p:txBody>
      </p:sp>
      <p:grpSp>
        <p:nvGrpSpPr>
          <p:cNvPr id="3" name="Группа 2"/>
          <p:cNvGrpSpPr/>
          <p:nvPr/>
        </p:nvGrpSpPr>
        <p:grpSpPr>
          <a:xfrm>
            <a:off x="5022558" y="1341701"/>
            <a:ext cx="3604457" cy="1062765"/>
            <a:chOff x="5010288" y="1636043"/>
            <a:chExt cx="3604457" cy="966150"/>
          </a:xfrm>
        </p:grpSpPr>
        <p:sp>
          <p:nvSpPr>
            <p:cNvPr id="3113" name="object 39"/>
            <p:cNvSpPr>
              <a:spLocks noChangeArrowheads="1"/>
            </p:cNvSpPr>
            <p:nvPr/>
          </p:nvSpPr>
          <p:spPr bwMode="auto">
            <a:xfrm flipV="1">
              <a:off x="6985808" y="2051913"/>
              <a:ext cx="1628937" cy="69312"/>
            </a:xfrm>
            <a:custGeom>
              <a:avLst/>
              <a:gdLst>
                <a:gd name="T0" fmla="*/ 0 w 3094990"/>
                <a:gd name="T1" fmla="*/ 0 h 152400"/>
                <a:gd name="T2" fmla="*/ 3094990 w 3094990"/>
                <a:gd name="T3" fmla="*/ 152400 h 152400"/>
              </a:gdLst>
              <a:ahLst/>
              <a:cxnLst/>
              <a:rect l="T0" t="T1" r="T2" b="T3"/>
              <a:pathLst>
                <a:path w="3094990" h="152400">
                  <a:moveTo>
                    <a:pt x="3094494" y="0"/>
                  </a:moveTo>
                  <a:lnTo>
                    <a:pt x="0" y="0"/>
                  </a:lnTo>
                </a:path>
              </a:pathLst>
            </a:custGeom>
            <a:noFill/>
            <a:ln w="25400">
              <a:solidFill>
                <a:schemeClr val="tx2"/>
              </a:solidFill>
              <a:prstDash val="sys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defTabSz="415721" eaLnBrk="1" hangingPunct="1"/>
              <a:endParaRPr lang="ru-RU" sz="800">
                <a:solidFill>
                  <a:srgbClr val="006600"/>
                </a:solidFill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198" name="object 9"/>
            <p:cNvSpPr txBox="1"/>
            <p:nvPr/>
          </p:nvSpPr>
          <p:spPr>
            <a:xfrm>
              <a:off x="6881828" y="1636043"/>
              <a:ext cx="1202930" cy="467132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algn="ctr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3000" b="1" spc="-5" dirty="0">
                  <a:solidFill>
                    <a:srgbClr val="002060"/>
                  </a:solidFill>
                  <a:latin typeface="Arial"/>
                  <a:ea typeface="+mn-ea"/>
                  <a:cs typeface="Arial"/>
                </a:rPr>
                <a:t>495,8</a:t>
              </a:r>
            </a:p>
          </p:txBody>
        </p:sp>
        <p:sp>
          <p:nvSpPr>
            <p:cNvPr id="199" name="object 9"/>
            <p:cNvSpPr txBox="1"/>
            <p:nvPr/>
          </p:nvSpPr>
          <p:spPr>
            <a:xfrm>
              <a:off x="8012558" y="1710409"/>
              <a:ext cx="602187" cy="312814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1100" b="1" spc="-5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млн. </a:t>
              </a:r>
              <a:r>
                <a:rPr lang="kk-KZ" sz="1100" b="1" spc="-5" dirty="0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теңге </a:t>
              </a:r>
              <a:endParaRPr lang="kk-KZ" sz="1100" b="1" spc="-5" dirty="0">
                <a:solidFill>
                  <a:prstClr val="black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200" name="object 9"/>
            <p:cNvSpPr txBox="1"/>
            <p:nvPr/>
          </p:nvSpPr>
          <p:spPr>
            <a:xfrm>
              <a:off x="7206028" y="2121225"/>
              <a:ext cx="601465" cy="467132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3000" b="1" spc="-5" dirty="0">
                  <a:solidFill>
                    <a:srgbClr val="002060"/>
                  </a:solidFill>
                  <a:latin typeface="Arial"/>
                  <a:ea typeface="+mn-ea"/>
                  <a:cs typeface="Arial"/>
                </a:rPr>
                <a:t>9</a:t>
              </a:r>
            </a:p>
          </p:txBody>
        </p:sp>
        <p:sp>
          <p:nvSpPr>
            <p:cNvPr id="201" name="object 9"/>
            <p:cNvSpPr txBox="1"/>
            <p:nvPr/>
          </p:nvSpPr>
          <p:spPr>
            <a:xfrm>
              <a:off x="7275343" y="2307502"/>
              <a:ext cx="1203652" cy="214885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algn="ctr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1500" b="1" spc="-5" dirty="0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 </a:t>
              </a:r>
              <a:r>
                <a:rPr lang="ru-RU" sz="1500" b="1" spc="-5" dirty="0" err="1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жоба</a:t>
              </a:r>
              <a:endParaRPr lang="ru-RU" sz="1500" b="1" spc="-5" dirty="0">
                <a:solidFill>
                  <a:prstClr val="black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202" name="object 9"/>
            <p:cNvSpPr txBox="1"/>
            <p:nvPr/>
          </p:nvSpPr>
          <p:spPr>
            <a:xfrm>
              <a:off x="5044941" y="1636043"/>
              <a:ext cx="335030" cy="467132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3000" b="1" spc="-5" dirty="0">
                  <a:solidFill>
                    <a:srgbClr val="002060"/>
                  </a:solidFill>
                  <a:latin typeface="Arial"/>
                  <a:ea typeface="+mn-ea"/>
                  <a:cs typeface="Arial"/>
                </a:rPr>
                <a:t>2</a:t>
              </a:r>
            </a:p>
          </p:txBody>
        </p:sp>
        <p:sp>
          <p:nvSpPr>
            <p:cNvPr id="203" name="Прямоугольник 202"/>
            <p:cNvSpPr/>
            <p:nvPr/>
          </p:nvSpPr>
          <p:spPr>
            <a:xfrm>
              <a:off x="5303435" y="1703192"/>
              <a:ext cx="515156" cy="192045"/>
            </a:xfrm>
            <a:prstGeom prst="rect">
              <a:avLst/>
            </a:prstGeom>
          </p:spPr>
          <p:txBody>
            <a:bodyPr wrap="none" lIns="41568" tIns="20783" rIns="41568" bIns="20783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1100" b="1" spc="-5" dirty="0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АУЫЛ</a:t>
              </a:r>
              <a:endParaRPr lang="ru-RU" sz="1100" b="1" spc="-5" dirty="0">
                <a:solidFill>
                  <a:prstClr val="black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204" name="Прямоугольник 203"/>
            <p:cNvSpPr/>
            <p:nvPr/>
          </p:nvSpPr>
          <p:spPr>
            <a:xfrm>
              <a:off x="5285383" y="1869973"/>
              <a:ext cx="1593657" cy="164065"/>
            </a:xfrm>
            <a:prstGeom prst="rect">
              <a:avLst/>
            </a:prstGeom>
          </p:spPr>
          <p:txBody>
            <a:bodyPr wrap="none" lIns="41568" tIns="20783" rIns="41568" bIns="20783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kk-KZ" sz="900" b="1" i="1" spc="-5" dirty="0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Қызылжар және Северное</a:t>
              </a:r>
              <a:endParaRPr lang="kk-KZ" sz="900" b="1" i="1" spc="-5" dirty="0">
                <a:solidFill>
                  <a:prstClr val="black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212" name="object 9"/>
            <p:cNvSpPr txBox="1"/>
            <p:nvPr/>
          </p:nvSpPr>
          <p:spPr>
            <a:xfrm>
              <a:off x="5287548" y="2181154"/>
              <a:ext cx="1351672" cy="421039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2700" b="1" spc="-5" dirty="0">
                  <a:solidFill>
                    <a:srgbClr val="002060"/>
                  </a:solidFill>
                  <a:latin typeface="Arial"/>
                  <a:ea typeface="+mn-ea"/>
                  <a:cs typeface="Arial"/>
                </a:rPr>
                <a:t>2,2</a:t>
              </a:r>
            </a:p>
          </p:txBody>
        </p:sp>
        <p:sp>
          <p:nvSpPr>
            <p:cNvPr id="213" name="Прямоугольник 212"/>
            <p:cNvSpPr/>
            <p:nvPr/>
          </p:nvSpPr>
          <p:spPr>
            <a:xfrm>
              <a:off x="5797315" y="2215809"/>
              <a:ext cx="727823" cy="327222"/>
            </a:xfrm>
            <a:prstGeom prst="rect">
              <a:avLst/>
            </a:prstGeom>
          </p:spPr>
          <p:txBody>
            <a:bodyPr lIns="41568" tIns="20783" rIns="41568" bIns="20783">
              <a:spAutoFit/>
            </a:bodyPr>
            <a:lstStyle/>
            <a:p>
              <a:pPr marL="5774" defTabSz="415721" eaLnBrk="1" fontAlgn="auto" hangingPunct="1">
                <a:lnSpc>
                  <a:spcPts val="1262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k-KZ" sz="900" b="1" i="1" spc="-5" dirty="0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мың </a:t>
              </a:r>
            </a:p>
            <a:p>
              <a:pPr marL="5774" defTabSz="415721" eaLnBrk="1" fontAlgn="auto" hangingPunct="1">
                <a:lnSpc>
                  <a:spcPts val="1262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k-KZ" sz="900" b="1" i="1" spc="-5" dirty="0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адам</a:t>
              </a:r>
              <a:endParaRPr lang="kk-KZ" sz="900" b="1" i="1" spc="-5" dirty="0">
                <a:solidFill>
                  <a:prstClr val="black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3130" name="object 39"/>
            <p:cNvSpPr>
              <a:spLocks noChangeArrowheads="1"/>
            </p:cNvSpPr>
            <p:nvPr/>
          </p:nvSpPr>
          <p:spPr bwMode="auto">
            <a:xfrm flipV="1">
              <a:off x="5010288" y="2051913"/>
              <a:ext cx="1628937" cy="69312"/>
            </a:xfrm>
            <a:custGeom>
              <a:avLst/>
              <a:gdLst>
                <a:gd name="T0" fmla="*/ 0 w 3094990"/>
                <a:gd name="T1" fmla="*/ 0 h 152400"/>
                <a:gd name="T2" fmla="*/ 3094990 w 3094990"/>
                <a:gd name="T3" fmla="*/ 152400 h 152400"/>
              </a:gdLst>
              <a:ahLst/>
              <a:cxnLst/>
              <a:rect l="T0" t="T1" r="T2" b="T3"/>
              <a:pathLst>
                <a:path w="3094990" h="152400">
                  <a:moveTo>
                    <a:pt x="3094494" y="0"/>
                  </a:moveTo>
                  <a:lnTo>
                    <a:pt x="0" y="0"/>
                  </a:lnTo>
                </a:path>
              </a:pathLst>
            </a:custGeom>
            <a:noFill/>
            <a:ln w="25400">
              <a:solidFill>
                <a:schemeClr val="tx2"/>
              </a:solidFill>
              <a:prstDash val="sys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defTabSz="415721" eaLnBrk="1" hangingPunct="1"/>
              <a:endParaRPr lang="ru-RU" sz="800">
                <a:solidFill>
                  <a:srgbClr val="006600"/>
                </a:solidFill>
                <a:latin typeface="Calibri" pitchFamily="34" charset="0"/>
                <a:ea typeface="+mn-ea"/>
                <a:cs typeface="Arial" charset="0"/>
              </a:endParaRPr>
            </a:p>
          </p:txBody>
        </p:sp>
      </p:grpSp>
      <p:grpSp>
        <p:nvGrpSpPr>
          <p:cNvPr id="5" name="Группа 4"/>
          <p:cNvGrpSpPr/>
          <p:nvPr/>
        </p:nvGrpSpPr>
        <p:grpSpPr>
          <a:xfrm>
            <a:off x="4779951" y="2840314"/>
            <a:ext cx="2333293" cy="587263"/>
            <a:chOff x="4779951" y="3065598"/>
            <a:chExt cx="2333293" cy="587263"/>
          </a:xfrm>
        </p:grpSpPr>
        <p:sp>
          <p:nvSpPr>
            <p:cNvPr id="3122" name="object 35"/>
            <p:cNvSpPr>
              <a:spLocks noChangeArrowheads="1"/>
            </p:cNvSpPr>
            <p:nvPr/>
          </p:nvSpPr>
          <p:spPr bwMode="auto">
            <a:xfrm flipV="1">
              <a:off x="4814608" y="3160899"/>
              <a:ext cx="1420988" cy="72200"/>
            </a:xfrm>
            <a:custGeom>
              <a:avLst/>
              <a:gdLst>
                <a:gd name="T0" fmla="*/ 0 w 4923790"/>
                <a:gd name="T1" fmla="*/ 0 h 159055"/>
                <a:gd name="T2" fmla="*/ 4923790 w 4923790"/>
                <a:gd name="T3" fmla="*/ 159055 h 159055"/>
              </a:gdLst>
              <a:ahLst/>
              <a:cxnLst/>
              <a:rect l="T0" t="T1" r="T2" b="T3"/>
              <a:pathLst>
                <a:path w="4923790" h="159055">
                  <a:moveTo>
                    <a:pt x="0" y="0"/>
                  </a:moveTo>
                  <a:lnTo>
                    <a:pt x="4923399" y="0"/>
                  </a:lnTo>
                </a:path>
              </a:pathLst>
            </a:custGeom>
            <a:noFill/>
            <a:ln w="20941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defTabSz="415721" eaLnBrk="1" hangingPunct="1"/>
              <a:endParaRPr lang="ru-RU" sz="500">
                <a:solidFill>
                  <a:prstClr val="black"/>
                </a:solidFill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07" name="object 38"/>
            <p:cNvSpPr txBox="1"/>
            <p:nvPr/>
          </p:nvSpPr>
          <p:spPr>
            <a:xfrm>
              <a:off x="4814613" y="3240809"/>
              <a:ext cx="439727" cy="211599"/>
            </a:xfrm>
            <a:prstGeom prst="rect">
              <a:avLst/>
            </a:prstGeom>
          </p:spPr>
          <p:txBody>
            <a:bodyPr lIns="0" tIns="6353" rIns="0" bIns="0">
              <a:spAutoFit/>
            </a:bodyPr>
            <a:lstStyle/>
            <a:p>
              <a:pPr marL="15012" defTabSz="415721" eaLnBrk="1" fontAlgn="auto" hangingPunct="1">
                <a:lnSpc>
                  <a:spcPts val="816"/>
                </a:lnSpc>
                <a:spcBef>
                  <a:spcPts val="50"/>
                </a:spcBef>
                <a:spcAft>
                  <a:spcPts val="0"/>
                </a:spcAft>
                <a:defRPr/>
              </a:pPr>
              <a:r>
                <a:rPr lang="kk-KZ" sz="700" i="1" spc="2" dirty="0" smtClean="0">
                  <a:solidFill>
                    <a:prstClr val="black"/>
                  </a:solidFill>
                  <a:latin typeface="Arial"/>
                  <a:cs typeface="Arial"/>
                </a:rPr>
                <a:t>оның ішінде;</a:t>
              </a:r>
              <a:endParaRPr lang="kk-KZ" sz="700" i="1" dirty="0">
                <a:solidFill>
                  <a:prstClr val="black"/>
                </a:solidFill>
                <a:latin typeface="Arial"/>
                <a:cs typeface="Arial"/>
              </a:endParaRPr>
            </a:p>
          </p:txBody>
        </p:sp>
        <p:sp>
          <p:nvSpPr>
            <p:cNvPr id="3124" name="object 39"/>
            <p:cNvSpPr>
              <a:spLocks noChangeArrowheads="1"/>
            </p:cNvSpPr>
            <p:nvPr/>
          </p:nvSpPr>
          <p:spPr bwMode="auto">
            <a:xfrm>
              <a:off x="4814608" y="3590487"/>
              <a:ext cx="1420988" cy="20938"/>
            </a:xfrm>
            <a:custGeom>
              <a:avLst/>
              <a:gdLst>
                <a:gd name="T0" fmla="*/ 0 w 4923790"/>
                <a:gd name="T1" fmla="*/ 0 h 45719"/>
                <a:gd name="T2" fmla="*/ 4923790 w 4923790"/>
                <a:gd name="T3" fmla="*/ 45719 h 45719"/>
              </a:gdLst>
              <a:ahLst/>
              <a:cxnLst/>
              <a:rect l="T0" t="T1" r="T2" b="T3"/>
              <a:pathLst>
                <a:path w="4923790" h="45719">
                  <a:moveTo>
                    <a:pt x="0" y="0"/>
                  </a:moveTo>
                  <a:lnTo>
                    <a:pt x="4923399" y="0"/>
                  </a:lnTo>
                </a:path>
              </a:pathLst>
            </a:custGeom>
            <a:noFill/>
            <a:ln w="20941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defTabSz="415721" eaLnBrk="1" hangingPunct="1"/>
              <a:endParaRPr lang="ru-RU" sz="500">
                <a:solidFill>
                  <a:prstClr val="black"/>
                </a:solidFill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09" name="Прямоугольник 208"/>
            <p:cNvSpPr/>
            <p:nvPr/>
          </p:nvSpPr>
          <p:spPr>
            <a:xfrm>
              <a:off x="4779951" y="3065598"/>
              <a:ext cx="614542" cy="165083"/>
            </a:xfrm>
            <a:prstGeom prst="rect">
              <a:avLst/>
            </a:prstGeom>
          </p:spPr>
          <p:txBody>
            <a:bodyPr wrap="none" lIns="41568" tIns="20783" rIns="41568" bIns="20783">
              <a:spAutoFit/>
            </a:bodyPr>
            <a:lstStyle/>
            <a:p>
              <a:pPr marL="11547" defTabSz="415721" eaLnBrk="1" fontAlgn="auto" hangingPunct="1">
                <a:spcBef>
                  <a:spcPts val="923"/>
                </a:spcBef>
                <a:spcAft>
                  <a:spcPts val="0"/>
                </a:spcAft>
                <a:defRPr/>
              </a:pPr>
              <a:r>
                <a:rPr lang="ru-RU" sz="800" i="1" spc="5" dirty="0" smtClean="0">
                  <a:solidFill>
                    <a:prstClr val="black"/>
                  </a:solidFill>
                  <a:latin typeface="Arial"/>
                  <a:cs typeface="Arial"/>
                </a:rPr>
                <a:t>БАРЛЫҒЫ</a:t>
              </a:r>
              <a:endParaRPr lang="ru-RU" sz="800" i="1" spc="5" dirty="0">
                <a:solidFill>
                  <a:prstClr val="black"/>
                </a:solidFill>
                <a:latin typeface="Arial"/>
                <a:cs typeface="Arial"/>
              </a:endParaRPr>
            </a:p>
          </p:txBody>
        </p:sp>
        <p:sp>
          <p:nvSpPr>
            <p:cNvPr id="210" name="Прямоугольник 209"/>
            <p:cNvSpPr/>
            <p:nvPr/>
          </p:nvSpPr>
          <p:spPr>
            <a:xfrm>
              <a:off x="4779951" y="3451618"/>
              <a:ext cx="1708110" cy="165083"/>
            </a:xfrm>
            <a:prstGeom prst="rect">
              <a:avLst/>
            </a:prstGeom>
          </p:spPr>
          <p:txBody>
            <a:bodyPr wrap="none" lIns="41568" tIns="20783" rIns="41568" bIns="20783">
              <a:spAutoFit/>
            </a:bodyPr>
            <a:lstStyle/>
            <a:p>
              <a:pPr defTabSz="41572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800" i="1" spc="5" dirty="0" smtClean="0">
                  <a:solidFill>
                    <a:prstClr val="black"/>
                  </a:solidFill>
                  <a:latin typeface="Arial"/>
                  <a:cs typeface="Arial"/>
                </a:rPr>
                <a:t>ЖҰМЫСПЕН ҚАМТУ ОРТАЛЫҒЫ</a:t>
              </a:r>
              <a:endParaRPr lang="ru-RU" sz="800" i="1" spc="5" dirty="0">
                <a:solidFill>
                  <a:prstClr val="black"/>
                </a:solidFill>
                <a:latin typeface="Arial"/>
                <a:cs typeface="Arial"/>
              </a:endParaRPr>
            </a:p>
          </p:txBody>
        </p:sp>
        <p:sp>
          <p:nvSpPr>
            <p:cNvPr id="3127" name="object 9"/>
            <p:cNvSpPr txBox="1">
              <a:spLocks noChangeArrowheads="1"/>
            </p:cNvSpPr>
            <p:nvPr/>
          </p:nvSpPr>
          <p:spPr bwMode="auto">
            <a:xfrm>
              <a:off x="6511779" y="3069929"/>
              <a:ext cx="601465" cy="2363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5487" rIns="0" bIns="0">
              <a:spAutoFit/>
            </a:bodyPr>
            <a:lstStyle>
              <a:lvl1pPr marL="127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415721" eaLnBrk="1" hangingPunct="1">
                <a:spcBef>
                  <a:spcPts val="45"/>
                </a:spcBef>
              </a:pPr>
              <a:r>
                <a:rPr lang="ru-RU" sz="1500" b="1" dirty="0">
                  <a:solidFill>
                    <a:srgbClr val="00B050"/>
                  </a:solidFill>
                  <a:ea typeface="+mn-ea"/>
                </a:rPr>
                <a:t>71</a:t>
              </a:r>
            </a:p>
          </p:txBody>
        </p:sp>
        <p:sp>
          <p:nvSpPr>
            <p:cNvPr id="3131" name="object 9"/>
            <p:cNvSpPr txBox="1">
              <a:spLocks noChangeArrowheads="1"/>
            </p:cNvSpPr>
            <p:nvPr/>
          </p:nvSpPr>
          <p:spPr bwMode="auto">
            <a:xfrm>
              <a:off x="6540095" y="3416488"/>
              <a:ext cx="398570" cy="2363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5487" rIns="0" bIns="0">
              <a:spAutoFit/>
            </a:bodyPr>
            <a:lstStyle>
              <a:lvl1pPr marL="127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415721" eaLnBrk="1" hangingPunct="1">
                <a:spcBef>
                  <a:spcPts val="45"/>
                </a:spcBef>
              </a:pPr>
              <a:r>
                <a:rPr lang="ru-RU" sz="1500" b="1" dirty="0">
                  <a:solidFill>
                    <a:srgbClr val="00B050"/>
                  </a:solidFill>
                  <a:ea typeface="+mn-ea"/>
                </a:rPr>
                <a:t>40</a:t>
              </a:r>
            </a:p>
          </p:txBody>
        </p:sp>
      </p:grpSp>
      <p:sp>
        <p:nvSpPr>
          <p:cNvPr id="3132" name="object 35"/>
          <p:cNvSpPr>
            <a:spLocks noChangeArrowheads="1"/>
          </p:cNvSpPr>
          <p:nvPr/>
        </p:nvSpPr>
        <p:spPr bwMode="auto">
          <a:xfrm flipV="1">
            <a:off x="7032735" y="2846836"/>
            <a:ext cx="1735079" cy="101079"/>
          </a:xfrm>
          <a:custGeom>
            <a:avLst/>
            <a:gdLst>
              <a:gd name="T0" fmla="*/ 0 w 4923790"/>
              <a:gd name="T1" fmla="*/ 0 h 221018"/>
              <a:gd name="T2" fmla="*/ 4923790 w 4923790"/>
              <a:gd name="T3" fmla="*/ 221018 h 221018"/>
            </a:gdLst>
            <a:ahLst/>
            <a:cxnLst/>
            <a:rect l="T0" t="T1" r="T2" b="T3"/>
            <a:pathLst>
              <a:path w="4923790" h="221018">
                <a:moveTo>
                  <a:pt x="0" y="0"/>
                </a:moveTo>
                <a:lnTo>
                  <a:pt x="4923399" y="0"/>
                </a:lnTo>
              </a:path>
            </a:pathLst>
          </a:custGeom>
          <a:noFill/>
          <a:ln w="20941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defTabSz="415721" eaLnBrk="1" hangingPunct="1"/>
            <a:endParaRPr lang="ru-RU" sz="500">
              <a:solidFill>
                <a:prstClr val="black"/>
              </a:solidFill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3133" name="object 35"/>
          <p:cNvSpPr>
            <a:spLocks noChangeArrowheads="1"/>
          </p:cNvSpPr>
          <p:nvPr/>
        </p:nvSpPr>
        <p:spPr bwMode="auto">
          <a:xfrm flipV="1">
            <a:off x="7032735" y="3230210"/>
            <a:ext cx="1735079" cy="20938"/>
          </a:xfrm>
          <a:custGeom>
            <a:avLst/>
            <a:gdLst>
              <a:gd name="T0" fmla="*/ 0 w 4923790"/>
              <a:gd name="T1" fmla="*/ 0 h 45719"/>
              <a:gd name="T2" fmla="*/ 4923790 w 4923790"/>
              <a:gd name="T3" fmla="*/ 45719 h 45719"/>
            </a:gdLst>
            <a:ahLst/>
            <a:cxnLst/>
            <a:rect l="T0" t="T1" r="T2" b="T3"/>
            <a:pathLst>
              <a:path w="4923790" h="45719">
                <a:moveTo>
                  <a:pt x="0" y="0"/>
                </a:moveTo>
                <a:lnTo>
                  <a:pt x="4923399" y="0"/>
                </a:lnTo>
              </a:path>
            </a:pathLst>
          </a:custGeom>
          <a:noFill/>
          <a:ln w="20941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defTabSz="415721" eaLnBrk="1" hangingPunct="1"/>
            <a:endParaRPr lang="ru-RU" sz="500">
              <a:solidFill>
                <a:prstClr val="black"/>
              </a:solidFill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3134" name="object 37"/>
          <p:cNvSpPr txBox="1">
            <a:spLocks noChangeArrowheads="1"/>
          </p:cNvSpPr>
          <p:nvPr/>
        </p:nvSpPr>
        <p:spPr bwMode="auto">
          <a:xfrm>
            <a:off x="7051509" y="2641062"/>
            <a:ext cx="1090291" cy="253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5197" rIns="0" bIns="0">
            <a:spAutoFit/>
          </a:bodyPr>
          <a:lstStyle>
            <a:lvl1pPr marL="127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415721" eaLnBrk="1" hangingPunct="1">
              <a:lnSpc>
                <a:spcPct val="101000"/>
              </a:lnSpc>
              <a:spcBef>
                <a:spcPts val="40"/>
              </a:spcBef>
            </a:pPr>
            <a:r>
              <a:rPr lang="ru-RU" sz="800" i="1" dirty="0">
                <a:solidFill>
                  <a:srgbClr val="595959"/>
                </a:solidFill>
                <a:ea typeface="+mn-ea"/>
              </a:rPr>
              <a:t>6 </a:t>
            </a:r>
            <a:r>
              <a:rPr lang="ru-RU" sz="800" i="1" dirty="0" smtClean="0">
                <a:solidFill>
                  <a:srgbClr val="595959"/>
                </a:solidFill>
                <a:ea typeface="+mn-ea"/>
              </a:rPr>
              <a:t> </a:t>
            </a:r>
            <a:r>
              <a:rPr lang="kk-KZ" sz="800" i="1" dirty="0" smtClean="0">
                <a:solidFill>
                  <a:srgbClr val="595959"/>
                </a:solidFill>
                <a:ea typeface="+mn-ea"/>
              </a:rPr>
              <a:t>жоба </a:t>
            </a:r>
          </a:p>
          <a:p>
            <a:pPr defTabSz="415721" eaLnBrk="1" hangingPunct="1">
              <a:lnSpc>
                <a:spcPct val="101000"/>
              </a:lnSpc>
              <a:spcBef>
                <a:spcPts val="40"/>
              </a:spcBef>
            </a:pPr>
            <a:r>
              <a:rPr lang="kk-KZ" sz="800" i="1" dirty="0" smtClean="0">
                <a:solidFill>
                  <a:srgbClr val="595959"/>
                </a:solidFill>
                <a:ea typeface="+mn-ea"/>
              </a:rPr>
              <a:t>жол жөндеу бойынша</a:t>
            </a:r>
            <a:endParaRPr lang="kk-KZ" sz="800" i="1" dirty="0">
              <a:solidFill>
                <a:srgbClr val="595959"/>
              </a:solidFill>
              <a:ea typeface="+mn-ea"/>
            </a:endParaRPr>
          </a:p>
        </p:txBody>
      </p:sp>
      <p:sp>
        <p:nvSpPr>
          <p:cNvPr id="220" name="object 29"/>
          <p:cNvSpPr txBox="1"/>
          <p:nvPr/>
        </p:nvSpPr>
        <p:spPr>
          <a:xfrm>
            <a:off x="8268157" y="2769578"/>
            <a:ext cx="542257" cy="176274"/>
          </a:xfrm>
          <a:prstGeom prst="rect">
            <a:avLst/>
          </a:prstGeom>
        </p:spPr>
        <p:txBody>
          <a:bodyPr lIns="0" tIns="6929" rIns="0" bIns="0">
            <a:spAutoFit/>
          </a:bodyPr>
          <a:lstStyle/>
          <a:p>
            <a:pPr marL="5774" defTabSz="415721" eaLnBrk="1" fontAlgn="auto" hangingPunct="1">
              <a:spcBef>
                <a:spcPts val="55"/>
              </a:spcBef>
              <a:spcAft>
                <a:spcPts val="0"/>
              </a:spcAft>
              <a:defRPr/>
            </a:pPr>
            <a:r>
              <a:rPr lang="ru-RU" sz="1100" spc="2" dirty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ea typeface="+mn-ea"/>
                <a:cs typeface="Arial"/>
              </a:rPr>
              <a:t>8,7 </a:t>
            </a:r>
            <a:r>
              <a:rPr lang="kk-KZ" sz="1100" spc="5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ea typeface="+mn-ea"/>
                <a:cs typeface="Arial"/>
              </a:rPr>
              <a:t>км</a:t>
            </a:r>
            <a:endParaRPr lang="kk-KZ" sz="1100" dirty="0">
              <a:solidFill>
                <a:prstClr val="black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3136" name="object 35"/>
          <p:cNvSpPr>
            <a:spLocks noChangeArrowheads="1"/>
          </p:cNvSpPr>
          <p:nvPr/>
        </p:nvSpPr>
        <p:spPr bwMode="auto">
          <a:xfrm flipV="1">
            <a:off x="7032735" y="3585432"/>
            <a:ext cx="1735079" cy="25992"/>
          </a:xfrm>
          <a:custGeom>
            <a:avLst/>
            <a:gdLst>
              <a:gd name="T0" fmla="*/ 0 w 4923790"/>
              <a:gd name="T1" fmla="*/ 0 h 57937"/>
              <a:gd name="T2" fmla="*/ 4923790 w 4923790"/>
              <a:gd name="T3" fmla="*/ 57937 h 57937"/>
            </a:gdLst>
            <a:ahLst/>
            <a:cxnLst/>
            <a:rect l="T0" t="T1" r="T2" b="T3"/>
            <a:pathLst>
              <a:path w="4923790" h="57937">
                <a:moveTo>
                  <a:pt x="0" y="0"/>
                </a:moveTo>
                <a:lnTo>
                  <a:pt x="4923399" y="0"/>
                </a:lnTo>
              </a:path>
            </a:pathLst>
          </a:custGeom>
          <a:noFill/>
          <a:ln w="20941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defTabSz="415721" eaLnBrk="1" hangingPunct="1"/>
            <a:endParaRPr lang="ru-RU" sz="500">
              <a:solidFill>
                <a:prstClr val="black"/>
              </a:solidFill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3137" name="object 37"/>
          <p:cNvSpPr txBox="1">
            <a:spLocks noChangeArrowheads="1"/>
          </p:cNvSpPr>
          <p:nvPr/>
        </p:nvSpPr>
        <p:spPr bwMode="auto">
          <a:xfrm>
            <a:off x="7032741" y="2964516"/>
            <a:ext cx="1280911" cy="253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5197" rIns="0" bIns="0">
            <a:spAutoFit/>
          </a:bodyPr>
          <a:lstStyle>
            <a:lvl1pPr marL="127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415721" eaLnBrk="1" hangingPunct="1">
              <a:lnSpc>
                <a:spcPct val="101000"/>
              </a:lnSpc>
              <a:spcBef>
                <a:spcPts val="40"/>
              </a:spcBef>
            </a:pPr>
            <a:r>
              <a:rPr lang="ru-RU" sz="800" i="1" dirty="0">
                <a:solidFill>
                  <a:srgbClr val="595959"/>
                </a:solidFill>
                <a:ea typeface="+mn-ea"/>
              </a:rPr>
              <a:t>1 </a:t>
            </a:r>
            <a:r>
              <a:rPr lang="kk-KZ" sz="800" i="1" dirty="0" smtClean="0">
                <a:solidFill>
                  <a:srgbClr val="595959"/>
                </a:solidFill>
                <a:ea typeface="+mn-ea"/>
              </a:rPr>
              <a:t>жоба  мектепті күрделі жөндеу бойынша</a:t>
            </a:r>
            <a:endParaRPr lang="kk-KZ" sz="800" i="1" dirty="0">
              <a:solidFill>
                <a:srgbClr val="595959"/>
              </a:solidFill>
              <a:ea typeface="+mn-ea"/>
            </a:endParaRPr>
          </a:p>
        </p:txBody>
      </p:sp>
      <p:sp>
        <p:nvSpPr>
          <p:cNvPr id="3138" name="object 37"/>
          <p:cNvSpPr txBox="1">
            <a:spLocks noChangeArrowheads="1"/>
          </p:cNvSpPr>
          <p:nvPr/>
        </p:nvSpPr>
        <p:spPr bwMode="auto">
          <a:xfrm>
            <a:off x="7034185" y="3334178"/>
            <a:ext cx="1280911" cy="1218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5197" rIns="0" bIns="0">
            <a:spAutoFit/>
          </a:bodyPr>
          <a:lstStyle>
            <a:lvl1pPr marL="127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415721" eaLnBrk="1" hangingPunct="1">
              <a:lnSpc>
                <a:spcPct val="101000"/>
              </a:lnSpc>
              <a:spcBef>
                <a:spcPts val="40"/>
              </a:spcBef>
            </a:pPr>
            <a:r>
              <a:rPr lang="ru-RU" sz="800" i="1" dirty="0">
                <a:solidFill>
                  <a:srgbClr val="595959"/>
                </a:solidFill>
                <a:ea typeface="+mn-ea"/>
              </a:rPr>
              <a:t>1 </a:t>
            </a:r>
            <a:r>
              <a:rPr lang="kk-KZ" sz="800" i="1" dirty="0" smtClean="0">
                <a:solidFill>
                  <a:srgbClr val="595959"/>
                </a:solidFill>
                <a:ea typeface="+mn-ea"/>
              </a:rPr>
              <a:t>жоба  МҮ реконст-лау</a:t>
            </a:r>
            <a:endParaRPr lang="kk-KZ" sz="800" i="1" dirty="0">
              <a:solidFill>
                <a:srgbClr val="595959"/>
              </a:solidFill>
              <a:ea typeface="+mn-ea"/>
            </a:endParaRPr>
          </a:p>
        </p:txBody>
      </p:sp>
      <p:sp>
        <p:nvSpPr>
          <p:cNvPr id="224" name="object 42"/>
          <p:cNvSpPr txBox="1"/>
          <p:nvPr/>
        </p:nvSpPr>
        <p:spPr>
          <a:xfrm>
            <a:off x="8161295" y="3428038"/>
            <a:ext cx="673669" cy="176274"/>
          </a:xfrm>
          <a:prstGeom prst="rect">
            <a:avLst/>
          </a:prstGeom>
        </p:spPr>
        <p:txBody>
          <a:bodyPr lIns="0" tIns="6929" rIns="0" bIns="0">
            <a:spAutoFit/>
          </a:bodyPr>
          <a:lstStyle/>
          <a:p>
            <a:pPr marL="5774" defTabSz="415721" eaLnBrk="1" fontAlgn="auto" hangingPunct="1">
              <a:spcBef>
                <a:spcPts val="55"/>
              </a:spcBef>
              <a:spcAft>
                <a:spcPts val="0"/>
              </a:spcAft>
              <a:defRPr/>
            </a:pPr>
            <a:r>
              <a:rPr lang="ru-RU" sz="1100" spc="5" dirty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ea typeface="+mn-ea"/>
                <a:cs typeface="Arial"/>
              </a:rPr>
              <a:t>150 </a:t>
            </a:r>
            <a:r>
              <a:rPr lang="kk-KZ" sz="1100" spc="5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ea typeface="+mn-ea"/>
                <a:cs typeface="Arial"/>
              </a:rPr>
              <a:t>орын</a:t>
            </a:r>
            <a:endParaRPr lang="kk-KZ" sz="1100" spc="5" dirty="0">
              <a:solidFill>
                <a:prstClr val="black">
                  <a:lumMod val="65000"/>
                  <a:lumOff val="35000"/>
                </a:prstClr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225" name="object 42"/>
          <p:cNvSpPr txBox="1"/>
          <p:nvPr/>
        </p:nvSpPr>
        <p:spPr>
          <a:xfrm>
            <a:off x="8312930" y="3086534"/>
            <a:ext cx="487381" cy="176274"/>
          </a:xfrm>
          <a:prstGeom prst="rect">
            <a:avLst/>
          </a:prstGeom>
        </p:spPr>
        <p:txBody>
          <a:bodyPr lIns="0" tIns="6929" rIns="0" bIns="0">
            <a:spAutoFit/>
          </a:bodyPr>
          <a:lstStyle/>
          <a:p>
            <a:pPr marL="5774" defTabSz="415721" eaLnBrk="1" fontAlgn="auto" hangingPunct="1">
              <a:spcBef>
                <a:spcPts val="55"/>
              </a:spcBef>
              <a:spcAft>
                <a:spcPts val="0"/>
              </a:spcAft>
              <a:defRPr/>
            </a:pPr>
            <a:r>
              <a:rPr lang="ru-RU" sz="1100" spc="5" dirty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ea typeface="+mn-ea"/>
                <a:cs typeface="Arial"/>
              </a:rPr>
              <a:t>212 уч.</a:t>
            </a:r>
            <a:endParaRPr sz="1100" spc="5" dirty="0">
              <a:solidFill>
                <a:prstClr val="black">
                  <a:lumMod val="65000"/>
                  <a:lumOff val="35000"/>
                </a:prstClr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226" name="Пятиугольник 225"/>
          <p:cNvSpPr/>
          <p:nvPr/>
        </p:nvSpPr>
        <p:spPr>
          <a:xfrm>
            <a:off x="5265170" y="4362914"/>
            <a:ext cx="1628937" cy="447132"/>
          </a:xfrm>
          <a:prstGeom prst="homePlat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568" tIns="20783" rIns="41568" bIns="20783" anchor="ctr"/>
          <a:lstStyle/>
          <a:p>
            <a:pPr algn="ctr" defTabSz="4157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900">
              <a:solidFill>
                <a:prstClr val="white"/>
              </a:solidFill>
            </a:endParaRPr>
          </a:p>
        </p:txBody>
      </p:sp>
      <p:sp>
        <p:nvSpPr>
          <p:cNvPr id="230" name="object 9"/>
          <p:cNvSpPr txBox="1"/>
          <p:nvPr/>
        </p:nvSpPr>
        <p:spPr>
          <a:xfrm>
            <a:off x="5334487" y="4415728"/>
            <a:ext cx="207949" cy="374872"/>
          </a:xfrm>
          <a:prstGeom prst="rect">
            <a:avLst/>
          </a:prstGeom>
        </p:spPr>
        <p:txBody>
          <a:bodyPr lIns="0" tIns="5487" rIns="0" bIns="0">
            <a:spAutoFit/>
          </a:bodyPr>
          <a:lstStyle/>
          <a:p>
            <a:pPr marL="5774" defTabSz="415721" eaLnBrk="1" fontAlgn="auto" hangingPunct="1">
              <a:spcBef>
                <a:spcPts val="43"/>
              </a:spcBef>
              <a:spcAft>
                <a:spcPts val="0"/>
              </a:spcAft>
              <a:defRPr/>
            </a:pPr>
            <a:r>
              <a:rPr lang="ru-RU" sz="2400" b="1" spc="-5" dirty="0">
                <a:solidFill>
                  <a:prstClr val="white"/>
                </a:solidFill>
                <a:latin typeface="Arial"/>
                <a:ea typeface="+mn-ea"/>
                <a:cs typeface="Arial"/>
              </a:rPr>
              <a:t>1</a:t>
            </a:r>
          </a:p>
        </p:txBody>
      </p:sp>
      <p:sp>
        <p:nvSpPr>
          <p:cNvPr id="231" name="object 9"/>
          <p:cNvSpPr txBox="1"/>
          <p:nvPr/>
        </p:nvSpPr>
        <p:spPr>
          <a:xfrm>
            <a:off x="5507772" y="4563738"/>
            <a:ext cx="1247697" cy="144040"/>
          </a:xfrm>
          <a:prstGeom prst="rect">
            <a:avLst/>
          </a:prstGeom>
        </p:spPr>
        <p:txBody>
          <a:bodyPr lIns="0" tIns="5487" rIns="0" bIns="0">
            <a:spAutoFit/>
          </a:bodyPr>
          <a:lstStyle/>
          <a:p>
            <a:pPr marL="5774" defTabSz="415721" eaLnBrk="1" fontAlgn="auto" hangingPunct="1">
              <a:spcBef>
                <a:spcPts val="43"/>
              </a:spcBef>
              <a:spcAft>
                <a:spcPts val="0"/>
              </a:spcAft>
              <a:defRPr/>
            </a:pPr>
            <a:r>
              <a:rPr lang="ru-RU" sz="900" b="1" i="1" spc="-5" dirty="0" smtClean="0">
                <a:solidFill>
                  <a:prstClr val="white"/>
                </a:solidFill>
                <a:latin typeface="Arial"/>
                <a:ea typeface="+mn-ea"/>
                <a:cs typeface="Arial"/>
              </a:rPr>
              <a:t>БЮДЖЕТТІК ТЕҢГЕ</a:t>
            </a:r>
            <a:endParaRPr lang="ru-RU" sz="900" b="1" spc="-5" dirty="0">
              <a:solidFill>
                <a:prstClr val="white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232" name="object 9"/>
          <p:cNvSpPr txBox="1"/>
          <p:nvPr/>
        </p:nvSpPr>
        <p:spPr>
          <a:xfrm>
            <a:off x="6998079" y="4399044"/>
            <a:ext cx="601465" cy="374872"/>
          </a:xfrm>
          <a:prstGeom prst="rect">
            <a:avLst/>
          </a:prstGeom>
        </p:spPr>
        <p:txBody>
          <a:bodyPr lIns="0" tIns="5487" rIns="0" bIns="0">
            <a:spAutoFit/>
          </a:bodyPr>
          <a:lstStyle/>
          <a:p>
            <a:pPr marL="5774" defTabSz="415721" eaLnBrk="1" fontAlgn="auto" hangingPunct="1">
              <a:spcBef>
                <a:spcPts val="43"/>
              </a:spcBef>
              <a:spcAft>
                <a:spcPts val="0"/>
              </a:spcAft>
              <a:defRPr/>
            </a:pPr>
            <a:r>
              <a:rPr lang="ru-RU" sz="2400" b="1" spc="-5" dirty="0">
                <a:solidFill>
                  <a:srgbClr val="00B050"/>
                </a:solidFill>
                <a:latin typeface="Arial"/>
                <a:ea typeface="+mn-ea"/>
                <a:cs typeface="Arial"/>
              </a:rPr>
              <a:t>7</a:t>
            </a:r>
          </a:p>
        </p:txBody>
      </p:sp>
      <p:grpSp>
        <p:nvGrpSpPr>
          <p:cNvPr id="9" name="Группа 8"/>
          <p:cNvGrpSpPr/>
          <p:nvPr/>
        </p:nvGrpSpPr>
        <p:grpSpPr>
          <a:xfrm>
            <a:off x="7437084" y="4448231"/>
            <a:ext cx="930655" cy="276498"/>
            <a:chOff x="7437084" y="4461214"/>
            <a:chExt cx="930655" cy="276498"/>
          </a:xfrm>
        </p:grpSpPr>
        <p:sp>
          <p:nvSpPr>
            <p:cNvPr id="228" name="object 9"/>
            <p:cNvSpPr txBox="1"/>
            <p:nvPr/>
          </p:nvSpPr>
          <p:spPr>
            <a:xfrm>
              <a:off x="7484737" y="4461214"/>
              <a:ext cx="865012" cy="144040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900" b="1" spc="-5" dirty="0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ТЕҢГЕ</a:t>
              </a:r>
              <a:endParaRPr lang="ru-RU" sz="800" b="1" spc="-5" dirty="0">
                <a:solidFill>
                  <a:prstClr val="black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233" name="Прямоугольник 232"/>
            <p:cNvSpPr/>
            <p:nvPr/>
          </p:nvSpPr>
          <p:spPr>
            <a:xfrm>
              <a:off x="7437084" y="4557241"/>
              <a:ext cx="930655" cy="180471"/>
            </a:xfrm>
            <a:prstGeom prst="rect">
              <a:avLst/>
            </a:prstGeom>
          </p:spPr>
          <p:txBody>
            <a:bodyPr wrap="none" lIns="41568" tIns="20783" rIns="41568" bIns="20783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900" b="1" spc="-5" dirty="0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ИНВЕСТИЦИЯ </a:t>
              </a:r>
              <a:endParaRPr lang="ru-RU" sz="900" b="1" spc="-5" dirty="0">
                <a:solidFill>
                  <a:prstClr val="black"/>
                </a:solidFill>
                <a:latin typeface="Arial"/>
                <a:ea typeface="+mn-ea"/>
                <a:cs typeface="Arial"/>
              </a:endParaRPr>
            </a:p>
          </p:txBody>
        </p:sp>
      </p:grpSp>
      <p:grpSp>
        <p:nvGrpSpPr>
          <p:cNvPr id="7" name="Группа 6"/>
          <p:cNvGrpSpPr/>
          <p:nvPr/>
        </p:nvGrpSpPr>
        <p:grpSpPr>
          <a:xfrm>
            <a:off x="4814608" y="3754932"/>
            <a:ext cx="4055014" cy="543086"/>
            <a:chOff x="4814608" y="3778783"/>
            <a:chExt cx="4055014" cy="543086"/>
          </a:xfrm>
        </p:grpSpPr>
        <p:sp>
          <p:nvSpPr>
            <p:cNvPr id="3142" name="object 37"/>
            <p:cNvSpPr txBox="1">
              <a:spLocks noChangeArrowheads="1"/>
            </p:cNvSpPr>
            <p:nvPr/>
          </p:nvSpPr>
          <p:spPr bwMode="auto">
            <a:xfrm>
              <a:off x="4883924" y="3815753"/>
              <a:ext cx="1514132" cy="4715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5197" rIns="0" bIns="0">
              <a:spAutoFit/>
            </a:bodyPr>
            <a:lstStyle>
              <a:lvl1pPr marL="127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415721" eaLnBrk="1" hangingPunct="1">
                <a:lnSpc>
                  <a:spcPct val="101000"/>
                </a:lnSpc>
                <a:spcBef>
                  <a:spcPts val="40"/>
                </a:spcBef>
              </a:pPr>
              <a:r>
                <a:rPr lang="ru-RU" sz="1500" b="1" dirty="0" smtClean="0">
                  <a:solidFill>
                    <a:srgbClr val="C0504D"/>
                  </a:solidFill>
                </a:rPr>
                <a:t>ЖЕКЕ</a:t>
              </a:r>
            </a:p>
            <a:p>
              <a:pPr defTabSz="415721" eaLnBrk="1" hangingPunct="1">
                <a:lnSpc>
                  <a:spcPct val="101000"/>
                </a:lnSpc>
                <a:spcBef>
                  <a:spcPts val="40"/>
                </a:spcBef>
              </a:pPr>
              <a:r>
                <a:rPr lang="ru-RU" sz="1500" b="1" dirty="0" smtClean="0">
                  <a:solidFill>
                    <a:srgbClr val="C0504D"/>
                  </a:solidFill>
                </a:rPr>
                <a:t>ИНВЕСТИЦИЯ</a:t>
              </a:r>
              <a:endParaRPr lang="ru-RU" sz="1500" b="1" dirty="0">
                <a:solidFill>
                  <a:srgbClr val="C0504D"/>
                </a:solidFill>
              </a:endParaRPr>
            </a:p>
          </p:txBody>
        </p:sp>
        <p:cxnSp>
          <p:nvCxnSpPr>
            <p:cNvPr id="229" name="Прямая соединительная линия 228"/>
            <p:cNvCxnSpPr/>
            <p:nvPr/>
          </p:nvCxnSpPr>
          <p:spPr>
            <a:xfrm>
              <a:off x="4814612" y="4311761"/>
              <a:ext cx="3777749" cy="1010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49" name="object 39"/>
            <p:cNvSpPr>
              <a:spLocks noChangeArrowheads="1"/>
            </p:cNvSpPr>
            <p:nvPr/>
          </p:nvSpPr>
          <p:spPr bwMode="auto">
            <a:xfrm flipV="1">
              <a:off x="6616836" y="3932713"/>
              <a:ext cx="1975520" cy="69312"/>
            </a:xfrm>
            <a:custGeom>
              <a:avLst/>
              <a:gdLst>
                <a:gd name="T0" fmla="*/ 0 w 3094990"/>
                <a:gd name="T1" fmla="*/ 0 h 152400"/>
                <a:gd name="T2" fmla="*/ 3094990 w 3094990"/>
                <a:gd name="T3" fmla="*/ 152400 h 152400"/>
              </a:gdLst>
              <a:ahLst/>
              <a:cxnLst/>
              <a:rect l="T0" t="T1" r="T2" b="T3"/>
              <a:pathLst>
                <a:path w="3094990" h="152400">
                  <a:moveTo>
                    <a:pt x="3094494" y="0"/>
                  </a:moveTo>
                  <a:lnTo>
                    <a:pt x="0" y="0"/>
                  </a:lnTo>
                </a:path>
              </a:pathLst>
            </a:custGeom>
            <a:noFill/>
            <a:ln w="25400">
              <a:solidFill>
                <a:schemeClr val="tx2"/>
              </a:solidFill>
              <a:prstDash val="sys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defTabSz="415721" eaLnBrk="1" hangingPunct="1"/>
              <a:endParaRPr lang="ru-RU" sz="800">
                <a:solidFill>
                  <a:srgbClr val="006600"/>
                </a:solidFill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35" name="object 9"/>
            <p:cNvSpPr txBox="1"/>
            <p:nvPr/>
          </p:nvSpPr>
          <p:spPr>
            <a:xfrm>
              <a:off x="7854321" y="3828748"/>
              <a:ext cx="772694" cy="174818"/>
            </a:xfrm>
            <a:prstGeom prst="rect">
              <a:avLst/>
            </a:prstGeom>
          </p:spPr>
          <p:txBody>
            <a:bodyPr wrap="square" lIns="0" tIns="5487" rIns="0" bIns="0">
              <a:spAutoFit/>
            </a:bodyPr>
            <a:lstStyle/>
            <a:p>
              <a:pPr marL="5774" algn="ctr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kk-KZ" sz="1100" b="1" i="1" spc="-5" dirty="0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жоба</a:t>
              </a:r>
              <a:endParaRPr lang="kk-KZ" sz="1100" b="1" i="1" spc="-5" dirty="0">
                <a:solidFill>
                  <a:prstClr val="black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3151" name="object 9"/>
            <p:cNvSpPr txBox="1">
              <a:spLocks noChangeArrowheads="1"/>
            </p:cNvSpPr>
            <p:nvPr/>
          </p:nvSpPr>
          <p:spPr bwMode="auto">
            <a:xfrm>
              <a:off x="7517951" y="4086209"/>
              <a:ext cx="462832" cy="2209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5487" rIns="0" bIns="0">
              <a:spAutoFit/>
            </a:bodyPr>
            <a:lstStyle>
              <a:lvl1pPr marL="127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415721" eaLnBrk="1" hangingPunct="1">
                <a:spcBef>
                  <a:spcPts val="45"/>
                </a:spcBef>
              </a:pPr>
              <a:r>
                <a:rPr lang="ru-RU" b="1" dirty="0">
                  <a:solidFill>
                    <a:srgbClr val="002060"/>
                  </a:solidFill>
                  <a:ea typeface="+mn-ea"/>
                </a:rPr>
                <a:t>3,4</a:t>
              </a:r>
            </a:p>
          </p:txBody>
        </p:sp>
        <p:sp>
          <p:nvSpPr>
            <p:cNvPr id="237" name="object 9"/>
            <p:cNvSpPr txBox="1"/>
            <p:nvPr/>
          </p:nvSpPr>
          <p:spPr>
            <a:xfrm>
              <a:off x="7665970" y="4133430"/>
              <a:ext cx="1203652" cy="159429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algn="ctr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1000" b="1" i="1" spc="-5" dirty="0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млрд. </a:t>
              </a:r>
              <a:r>
                <a:rPr lang="kk-KZ" sz="1000" b="1" i="1" spc="-5" dirty="0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теңге</a:t>
              </a:r>
              <a:endParaRPr lang="kk-KZ" sz="1000" b="1" i="1" spc="-5" dirty="0">
                <a:solidFill>
                  <a:prstClr val="black"/>
                </a:solidFill>
                <a:latin typeface="Arial"/>
                <a:ea typeface="+mn-ea"/>
                <a:cs typeface="Arial"/>
              </a:endParaRPr>
            </a:p>
          </p:txBody>
        </p:sp>
        <p:cxnSp>
          <p:nvCxnSpPr>
            <p:cNvPr id="238" name="Прямая соединительная линия 237"/>
            <p:cNvCxnSpPr/>
            <p:nvPr/>
          </p:nvCxnSpPr>
          <p:spPr>
            <a:xfrm>
              <a:off x="4814608" y="3888671"/>
              <a:ext cx="0" cy="42309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54" name="object 9"/>
            <p:cNvSpPr txBox="1">
              <a:spLocks noChangeArrowheads="1"/>
            </p:cNvSpPr>
            <p:nvPr/>
          </p:nvSpPr>
          <p:spPr bwMode="auto">
            <a:xfrm>
              <a:off x="7581130" y="3778783"/>
              <a:ext cx="462832" cy="2209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5487" rIns="0" bIns="0">
              <a:spAutoFit/>
            </a:bodyPr>
            <a:lstStyle>
              <a:lvl1pPr marL="127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415721" eaLnBrk="1" hangingPunct="1">
                <a:spcBef>
                  <a:spcPts val="45"/>
                </a:spcBef>
              </a:pPr>
              <a:r>
                <a:rPr lang="ru-RU" b="1" dirty="0">
                  <a:solidFill>
                    <a:srgbClr val="002060"/>
                  </a:solidFill>
                  <a:ea typeface="+mn-ea"/>
                </a:rPr>
                <a:t>4</a:t>
              </a:r>
            </a:p>
          </p:txBody>
        </p:sp>
      </p:grpSp>
      <p:cxnSp>
        <p:nvCxnSpPr>
          <p:cNvPr id="84" name="Straight Connector 32"/>
          <p:cNvCxnSpPr/>
          <p:nvPr/>
        </p:nvCxnSpPr>
        <p:spPr>
          <a:xfrm>
            <a:off x="0" y="514236"/>
            <a:ext cx="9144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8902930" y="4868751"/>
            <a:ext cx="24878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b="1" dirty="0"/>
              <a:t>6</a:t>
            </a:r>
            <a:endParaRPr lang="ru-RU" sz="900" b="1" dirty="0"/>
          </a:p>
        </p:txBody>
      </p:sp>
    </p:spTree>
    <p:extLst>
      <p:ext uri="{BB962C8B-B14F-4D97-AF65-F5344CB8AC3E}">
        <p14:creationId xmlns:p14="http://schemas.microsoft.com/office/powerpoint/2010/main" val="12046788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" name="Пятиугольник 1033"/>
          <p:cNvSpPr/>
          <p:nvPr/>
        </p:nvSpPr>
        <p:spPr>
          <a:xfrm>
            <a:off x="794257" y="4353528"/>
            <a:ext cx="1628937" cy="447132"/>
          </a:xfrm>
          <a:prstGeom prst="homePlat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568" tIns="20783" rIns="41568" bIns="20783" anchor="ctr"/>
          <a:lstStyle/>
          <a:p>
            <a:pPr algn="ctr" defTabSz="4157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900">
              <a:solidFill>
                <a:prstClr val="white"/>
              </a:solidFill>
            </a:endParaRPr>
          </a:p>
        </p:txBody>
      </p:sp>
      <p:sp>
        <p:nvSpPr>
          <p:cNvPr id="1033" name="Прямоугольник с двумя вырезанными противолежащими углами 1032"/>
          <p:cNvSpPr/>
          <p:nvPr/>
        </p:nvSpPr>
        <p:spPr>
          <a:xfrm>
            <a:off x="274378" y="655983"/>
            <a:ext cx="4136606" cy="4237707"/>
          </a:xfrm>
          <a:prstGeom prst="snip2DiagRect">
            <a:avLst>
              <a:gd name="adj1" fmla="val 0"/>
              <a:gd name="adj2" fmla="val 8907"/>
            </a:avLst>
          </a:prstGeom>
          <a:ln w="28514">
            <a:solidFill>
              <a:srgbClr val="385D8A"/>
            </a:solidFill>
          </a:ln>
        </p:spPr>
        <p:txBody>
          <a:bodyPr wrap="square" lIns="0" tIns="0" rIns="0" bIns="0" rtlCol="0"/>
          <a:lstStyle/>
          <a:p>
            <a:pPr defTabSz="405409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8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5" name="Прямоугольник 94"/>
          <p:cNvSpPr/>
          <p:nvPr/>
        </p:nvSpPr>
        <p:spPr>
          <a:xfrm>
            <a:off x="79780" y="-19856"/>
            <a:ext cx="8984440" cy="872969"/>
          </a:xfrm>
          <a:prstGeom prst="rect">
            <a:avLst/>
          </a:prstGeom>
        </p:spPr>
        <p:txBody>
          <a:bodyPr wrap="square" lIns="41568" tIns="20783" rIns="41568" bIns="20783">
            <a:spAutoFit/>
          </a:bodyPr>
          <a:lstStyle/>
          <a:p>
            <a:pPr marL="5774" algn="ctr" defTabSz="913936" eaLnBrk="1" hangingPunct="1">
              <a:tabLst>
                <a:tab pos="206404" algn="l"/>
              </a:tabLst>
              <a:defRPr/>
            </a:pPr>
            <a:r>
              <a:rPr lang="ru-RU" sz="1800" b="1" kern="0" spc="5" dirty="0" smtClean="0">
                <a:solidFill>
                  <a:srgbClr val="006FCE"/>
                </a:solidFill>
                <a:cs typeface="Arial" panose="020B0604020202020204" pitchFamily="34" charset="0"/>
              </a:rPr>
              <a:t>АҚТӨБЕ ОБЛЫСЫНЫҢ МАРТУК АУДАНЫНДА</a:t>
            </a:r>
          </a:p>
          <a:p>
            <a:pPr marL="5774" algn="ctr" defTabSz="913936" eaLnBrk="1" hangingPunct="1">
              <a:tabLst>
                <a:tab pos="206404" algn="l"/>
              </a:tabLst>
              <a:defRPr/>
            </a:pPr>
            <a:r>
              <a:rPr lang="ru-RU" sz="1800" b="1" kern="0" spc="5" dirty="0" smtClean="0">
                <a:solidFill>
                  <a:srgbClr val="006FCE"/>
                </a:solidFill>
                <a:cs typeface="Arial" panose="020B0604020202020204" pitchFamily="34" charset="0"/>
              </a:rPr>
              <a:t>«АУЫЛ – ЕЛ БЕСІГІ» ЖОБАСЫН ІСКЕ АСЫРУ ТУРАЛЫ</a:t>
            </a:r>
          </a:p>
          <a:p>
            <a:pPr marL="5774" algn="ctr" defTabSz="913936" eaLnBrk="1" hangingPunct="1">
              <a:tabLst>
                <a:tab pos="206404" algn="l"/>
              </a:tabLst>
              <a:defRPr/>
            </a:pPr>
            <a:endParaRPr lang="ru-RU" sz="1800" b="1" kern="0" spc="5" dirty="0">
              <a:solidFill>
                <a:srgbClr val="006FCE"/>
              </a:solidFill>
              <a:cs typeface="Arial" panose="020B0604020202020204" pitchFamily="34" charset="0"/>
            </a:endParaRPr>
          </a:p>
        </p:txBody>
      </p:sp>
      <p:sp>
        <p:nvSpPr>
          <p:cNvPr id="126" name="object 9"/>
          <p:cNvSpPr txBox="1"/>
          <p:nvPr/>
        </p:nvSpPr>
        <p:spPr>
          <a:xfrm>
            <a:off x="274378" y="863893"/>
            <a:ext cx="4136606" cy="220984"/>
          </a:xfrm>
          <a:prstGeom prst="rect">
            <a:avLst/>
          </a:prstGeom>
        </p:spPr>
        <p:txBody>
          <a:bodyPr lIns="0" tIns="5487" rIns="0" bIns="0">
            <a:spAutoFit/>
          </a:bodyPr>
          <a:lstStyle/>
          <a:p>
            <a:pPr marL="5774" algn="ctr" defTabSz="4157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spc="-5" dirty="0" smtClean="0">
                <a:solidFill>
                  <a:srgbClr val="008000"/>
                </a:solidFill>
                <a:latin typeface="Arial"/>
                <a:ea typeface="+mn-ea"/>
                <a:cs typeface="Arial"/>
              </a:rPr>
              <a:t>2019 </a:t>
            </a:r>
            <a:r>
              <a:rPr lang="ru-RU" b="1" spc="-5" dirty="0">
                <a:solidFill>
                  <a:srgbClr val="008000"/>
                </a:solidFill>
                <a:latin typeface="Arial"/>
                <a:ea typeface="+mn-ea"/>
                <a:cs typeface="Arial"/>
              </a:rPr>
              <a:t>– 2020 </a:t>
            </a:r>
            <a:r>
              <a:rPr lang="ru-RU" b="1" spc="-5" dirty="0" smtClean="0">
                <a:solidFill>
                  <a:srgbClr val="008000"/>
                </a:solidFill>
                <a:latin typeface="Arial"/>
                <a:ea typeface="+mn-ea"/>
                <a:cs typeface="Arial"/>
              </a:rPr>
              <a:t>ЖЫЛДАР </a:t>
            </a:r>
            <a:endParaRPr lang="ru-RU" b="1" spc="-5" dirty="0">
              <a:solidFill>
                <a:srgbClr val="008000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3087" name="object 37"/>
          <p:cNvSpPr txBox="1">
            <a:spLocks noChangeArrowheads="1"/>
          </p:cNvSpPr>
          <p:nvPr/>
        </p:nvSpPr>
        <p:spPr bwMode="auto">
          <a:xfrm>
            <a:off x="494607" y="2440951"/>
            <a:ext cx="3072309" cy="238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5197" rIns="0" bIns="0">
            <a:spAutoFit/>
          </a:bodyPr>
          <a:lstStyle>
            <a:lvl1pPr marL="127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415721" eaLnBrk="1" hangingPunct="1">
              <a:lnSpc>
                <a:spcPct val="101000"/>
              </a:lnSpc>
              <a:spcBef>
                <a:spcPts val="40"/>
              </a:spcBef>
            </a:pPr>
            <a:r>
              <a:rPr lang="ru-RU" sz="1500" b="1" dirty="0" smtClean="0">
                <a:solidFill>
                  <a:srgbClr val="008000"/>
                </a:solidFill>
                <a:ea typeface="+mn-ea"/>
              </a:rPr>
              <a:t>ЖҰМЫС ОРЫНДАРЫН ҚҰРУ</a:t>
            </a:r>
            <a:endParaRPr lang="ru-RU" sz="1500" b="1" dirty="0">
              <a:solidFill>
                <a:srgbClr val="008000"/>
              </a:solidFill>
              <a:ea typeface="+mn-ea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633231" y="1341700"/>
            <a:ext cx="3604457" cy="1020661"/>
            <a:chOff x="620965" y="1636043"/>
            <a:chExt cx="3604457" cy="927874"/>
          </a:xfrm>
        </p:grpSpPr>
        <p:sp>
          <p:nvSpPr>
            <p:cNvPr id="3079" name="object 39"/>
            <p:cNvSpPr>
              <a:spLocks noChangeArrowheads="1"/>
            </p:cNvSpPr>
            <p:nvPr/>
          </p:nvSpPr>
          <p:spPr bwMode="auto">
            <a:xfrm flipV="1">
              <a:off x="2596485" y="2051913"/>
              <a:ext cx="1628937" cy="69312"/>
            </a:xfrm>
            <a:custGeom>
              <a:avLst/>
              <a:gdLst>
                <a:gd name="T0" fmla="*/ 0 w 3094990"/>
                <a:gd name="T1" fmla="*/ 0 h 152400"/>
                <a:gd name="T2" fmla="*/ 3094990 w 3094990"/>
                <a:gd name="T3" fmla="*/ 152400 h 152400"/>
              </a:gdLst>
              <a:ahLst/>
              <a:cxnLst/>
              <a:rect l="T0" t="T1" r="T2" b="T3"/>
              <a:pathLst>
                <a:path w="3094990" h="152400">
                  <a:moveTo>
                    <a:pt x="3094494" y="0"/>
                  </a:moveTo>
                  <a:lnTo>
                    <a:pt x="0" y="0"/>
                  </a:lnTo>
                </a:path>
              </a:pathLst>
            </a:custGeom>
            <a:noFill/>
            <a:ln w="25400">
              <a:solidFill>
                <a:schemeClr val="tx2"/>
              </a:solidFill>
              <a:prstDash val="sys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defTabSz="415721" eaLnBrk="1" hangingPunct="1"/>
              <a:endParaRPr lang="ru-RU" sz="800">
                <a:solidFill>
                  <a:srgbClr val="006600"/>
                </a:solidFill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128" name="object 9"/>
            <p:cNvSpPr txBox="1"/>
            <p:nvPr/>
          </p:nvSpPr>
          <p:spPr>
            <a:xfrm>
              <a:off x="2492506" y="1636043"/>
              <a:ext cx="1203652" cy="424732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algn="ctr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3000" b="1" spc="-5" dirty="0" smtClean="0">
                  <a:solidFill>
                    <a:srgbClr val="002060"/>
                  </a:solidFill>
                  <a:latin typeface="Arial"/>
                  <a:ea typeface="+mn-ea"/>
                  <a:cs typeface="Arial"/>
                </a:rPr>
                <a:t>515,5</a:t>
              </a:r>
              <a:endParaRPr lang="ru-RU" sz="3000" b="1" spc="-5" dirty="0">
                <a:solidFill>
                  <a:srgbClr val="002060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129" name="object 9"/>
            <p:cNvSpPr txBox="1"/>
            <p:nvPr/>
          </p:nvSpPr>
          <p:spPr>
            <a:xfrm>
              <a:off x="3623953" y="1710409"/>
              <a:ext cx="601465" cy="312814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1100" b="1" spc="-5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млн. </a:t>
              </a:r>
              <a:r>
                <a:rPr lang="kk-KZ" sz="1100" b="1" spc="-5" dirty="0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теңге </a:t>
              </a:r>
              <a:endParaRPr lang="kk-KZ" sz="1100" b="1" spc="-5" dirty="0">
                <a:solidFill>
                  <a:prstClr val="black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130" name="object 9"/>
            <p:cNvSpPr txBox="1"/>
            <p:nvPr/>
          </p:nvSpPr>
          <p:spPr>
            <a:xfrm>
              <a:off x="2618864" y="2121225"/>
              <a:ext cx="601465" cy="424732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3000" b="1" spc="-5" dirty="0" smtClean="0">
                  <a:solidFill>
                    <a:srgbClr val="002060"/>
                  </a:solidFill>
                  <a:latin typeface="Arial"/>
                  <a:ea typeface="+mn-ea"/>
                  <a:cs typeface="Arial"/>
                </a:rPr>
                <a:t>4</a:t>
              </a:r>
              <a:endParaRPr lang="ru-RU" sz="3000" b="1" spc="-5" dirty="0">
                <a:solidFill>
                  <a:srgbClr val="002060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131" name="object 9"/>
            <p:cNvSpPr txBox="1"/>
            <p:nvPr/>
          </p:nvSpPr>
          <p:spPr>
            <a:xfrm>
              <a:off x="2987107" y="2307501"/>
              <a:ext cx="1203652" cy="214885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kk-KZ" sz="1500" b="1" spc="-5" dirty="0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жоба</a:t>
              </a:r>
              <a:endParaRPr lang="kk-KZ" sz="1500" b="1" spc="-5" dirty="0">
                <a:solidFill>
                  <a:prstClr val="black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138" name="object 9"/>
            <p:cNvSpPr txBox="1"/>
            <p:nvPr/>
          </p:nvSpPr>
          <p:spPr>
            <a:xfrm>
              <a:off x="655618" y="1636043"/>
              <a:ext cx="335752" cy="424732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3000" b="1" spc="-5" dirty="0" smtClean="0">
                  <a:solidFill>
                    <a:srgbClr val="002060"/>
                  </a:solidFill>
                  <a:latin typeface="Arial"/>
                  <a:ea typeface="+mn-ea"/>
                  <a:cs typeface="Arial"/>
                </a:rPr>
                <a:t>1</a:t>
              </a:r>
              <a:endParaRPr lang="ru-RU" sz="3000" b="1" spc="-5" dirty="0">
                <a:solidFill>
                  <a:srgbClr val="002060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1024" name="Прямоугольник 1023"/>
            <p:cNvSpPr/>
            <p:nvPr/>
          </p:nvSpPr>
          <p:spPr>
            <a:xfrm>
              <a:off x="914113" y="1703192"/>
              <a:ext cx="515156" cy="192045"/>
            </a:xfrm>
            <a:prstGeom prst="rect">
              <a:avLst/>
            </a:prstGeom>
          </p:spPr>
          <p:txBody>
            <a:bodyPr wrap="none" lIns="41568" tIns="20783" rIns="41568" bIns="20783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1100" b="1" spc="-5" dirty="0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АУЫЛ</a:t>
              </a:r>
              <a:endParaRPr lang="ru-RU" sz="1100" b="1" spc="-5" dirty="0">
                <a:solidFill>
                  <a:prstClr val="black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140" name="Прямоугольник 139"/>
            <p:cNvSpPr/>
            <p:nvPr/>
          </p:nvSpPr>
          <p:spPr>
            <a:xfrm>
              <a:off x="896787" y="1869973"/>
              <a:ext cx="89719" cy="164065"/>
            </a:xfrm>
            <a:prstGeom prst="rect">
              <a:avLst/>
            </a:prstGeom>
          </p:spPr>
          <p:txBody>
            <a:bodyPr wrap="none" lIns="41568" tIns="20783" rIns="41568" bIns="20783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endParaRPr lang="ru-RU" sz="900" b="1" i="1" spc="-5" dirty="0">
                <a:solidFill>
                  <a:prstClr val="black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150" name="object 9"/>
            <p:cNvSpPr txBox="1"/>
            <p:nvPr/>
          </p:nvSpPr>
          <p:spPr>
            <a:xfrm>
              <a:off x="898229" y="2181154"/>
              <a:ext cx="601465" cy="382763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2700" b="1" spc="-5" dirty="0" smtClean="0">
                  <a:solidFill>
                    <a:srgbClr val="002060"/>
                  </a:solidFill>
                  <a:latin typeface="Arial"/>
                  <a:ea typeface="+mn-ea"/>
                  <a:cs typeface="Arial"/>
                </a:rPr>
                <a:t>9,9</a:t>
              </a:r>
              <a:endParaRPr lang="ru-RU" sz="2700" b="1" spc="-5" dirty="0">
                <a:solidFill>
                  <a:srgbClr val="002060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1029" name="Прямоугольник 1028"/>
            <p:cNvSpPr/>
            <p:nvPr/>
          </p:nvSpPr>
          <p:spPr>
            <a:xfrm>
              <a:off x="1408713" y="2215809"/>
              <a:ext cx="727823" cy="327222"/>
            </a:xfrm>
            <a:prstGeom prst="rect">
              <a:avLst/>
            </a:prstGeom>
          </p:spPr>
          <p:txBody>
            <a:bodyPr lIns="41568" tIns="20783" rIns="41568" bIns="20783">
              <a:spAutoFit/>
            </a:bodyPr>
            <a:lstStyle/>
            <a:p>
              <a:pPr marL="5774" defTabSz="415721" eaLnBrk="1" fontAlgn="auto" hangingPunct="1">
                <a:lnSpc>
                  <a:spcPts val="1262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k-KZ" sz="900" b="1" i="1" spc="-5" dirty="0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мың</a:t>
              </a:r>
            </a:p>
            <a:p>
              <a:pPr marL="5774" defTabSz="415721" eaLnBrk="1" fontAlgn="auto" hangingPunct="1">
                <a:lnSpc>
                  <a:spcPts val="1262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k-KZ" sz="900" b="1" i="1" spc="-5" dirty="0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адам</a:t>
              </a:r>
              <a:endParaRPr lang="kk-KZ" sz="900" b="1" i="1" spc="-5" dirty="0">
                <a:solidFill>
                  <a:prstClr val="black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3096" name="object 39"/>
            <p:cNvSpPr>
              <a:spLocks noChangeArrowheads="1"/>
            </p:cNvSpPr>
            <p:nvPr/>
          </p:nvSpPr>
          <p:spPr bwMode="auto">
            <a:xfrm flipV="1">
              <a:off x="620965" y="2051913"/>
              <a:ext cx="1628937" cy="69312"/>
            </a:xfrm>
            <a:custGeom>
              <a:avLst/>
              <a:gdLst>
                <a:gd name="T0" fmla="*/ 0 w 3094990"/>
                <a:gd name="T1" fmla="*/ 0 h 152400"/>
                <a:gd name="T2" fmla="*/ 3094990 w 3094990"/>
                <a:gd name="T3" fmla="*/ 152400 h 152400"/>
              </a:gdLst>
              <a:ahLst/>
              <a:cxnLst/>
              <a:rect l="T0" t="T1" r="T2" b="T3"/>
              <a:pathLst>
                <a:path w="3094990" h="152400">
                  <a:moveTo>
                    <a:pt x="3094494" y="0"/>
                  </a:moveTo>
                  <a:lnTo>
                    <a:pt x="0" y="0"/>
                  </a:lnTo>
                </a:path>
              </a:pathLst>
            </a:custGeom>
            <a:noFill/>
            <a:ln w="25400">
              <a:solidFill>
                <a:schemeClr val="tx2"/>
              </a:solidFill>
              <a:prstDash val="sys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defTabSz="415721" eaLnBrk="1" hangingPunct="1"/>
              <a:endParaRPr lang="ru-RU" sz="800">
                <a:solidFill>
                  <a:srgbClr val="006600"/>
                </a:solidFill>
                <a:latin typeface="Calibri" pitchFamily="34" charset="0"/>
                <a:ea typeface="+mn-ea"/>
                <a:cs typeface="Arial" charset="0"/>
              </a:endParaRPr>
            </a:p>
          </p:txBody>
        </p:sp>
      </p:grpSp>
      <p:grpSp>
        <p:nvGrpSpPr>
          <p:cNvPr id="4" name="Группа 3"/>
          <p:cNvGrpSpPr/>
          <p:nvPr/>
        </p:nvGrpSpPr>
        <p:grpSpPr>
          <a:xfrm>
            <a:off x="482328" y="2778331"/>
            <a:ext cx="3928658" cy="644739"/>
            <a:chOff x="482328" y="2987623"/>
            <a:chExt cx="3928658" cy="644739"/>
          </a:xfrm>
        </p:grpSpPr>
        <p:sp>
          <p:nvSpPr>
            <p:cNvPr id="3088" name="object 35"/>
            <p:cNvSpPr>
              <a:spLocks noChangeArrowheads="1"/>
            </p:cNvSpPr>
            <p:nvPr/>
          </p:nvSpPr>
          <p:spPr bwMode="auto">
            <a:xfrm flipV="1">
              <a:off x="516985" y="3195554"/>
              <a:ext cx="3673774" cy="69312"/>
            </a:xfrm>
            <a:custGeom>
              <a:avLst/>
              <a:gdLst>
                <a:gd name="T0" fmla="*/ 0 w 4923790"/>
                <a:gd name="T1" fmla="*/ 0 h 152400"/>
                <a:gd name="T2" fmla="*/ 4923790 w 4923790"/>
                <a:gd name="T3" fmla="*/ 152400 h 152400"/>
              </a:gdLst>
              <a:ahLst/>
              <a:cxnLst/>
              <a:rect l="T0" t="T1" r="T2" b="T3"/>
              <a:pathLst>
                <a:path w="4923790" h="152400">
                  <a:moveTo>
                    <a:pt x="0" y="0"/>
                  </a:moveTo>
                  <a:lnTo>
                    <a:pt x="4923399" y="0"/>
                  </a:lnTo>
                </a:path>
              </a:pathLst>
            </a:custGeom>
            <a:noFill/>
            <a:ln w="20941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defTabSz="415721" eaLnBrk="1" hangingPunct="1"/>
              <a:endParaRPr lang="ru-RU" sz="500">
                <a:solidFill>
                  <a:prstClr val="black"/>
                </a:solidFill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143" name="object 38"/>
            <p:cNvSpPr txBox="1"/>
            <p:nvPr/>
          </p:nvSpPr>
          <p:spPr>
            <a:xfrm>
              <a:off x="516990" y="3299526"/>
              <a:ext cx="798463" cy="109007"/>
            </a:xfrm>
            <a:prstGeom prst="rect">
              <a:avLst/>
            </a:prstGeom>
          </p:spPr>
          <p:txBody>
            <a:bodyPr wrap="square" lIns="0" tIns="6353" rIns="0" bIns="0">
              <a:spAutoFit/>
            </a:bodyPr>
            <a:lstStyle/>
            <a:p>
              <a:pPr marL="15012" defTabSz="415721" eaLnBrk="1" fontAlgn="auto" hangingPunct="1">
                <a:lnSpc>
                  <a:spcPts val="816"/>
                </a:lnSpc>
                <a:spcBef>
                  <a:spcPts val="50"/>
                </a:spcBef>
                <a:spcAft>
                  <a:spcPts val="0"/>
                </a:spcAft>
                <a:defRPr/>
              </a:pPr>
              <a:r>
                <a:rPr lang="kk-KZ" sz="700" i="1" spc="-25" dirty="0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оның  ішінде</a:t>
              </a:r>
              <a:r>
                <a:rPr sz="700" i="1" spc="-25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.</a:t>
              </a:r>
              <a:endParaRPr sz="700" i="1" dirty="0">
                <a:solidFill>
                  <a:prstClr val="black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3090" name="object 39"/>
            <p:cNvSpPr>
              <a:spLocks noChangeArrowheads="1"/>
            </p:cNvSpPr>
            <p:nvPr/>
          </p:nvSpPr>
          <p:spPr bwMode="auto">
            <a:xfrm>
              <a:off x="516985" y="3611424"/>
              <a:ext cx="3673774" cy="20938"/>
            </a:xfrm>
            <a:custGeom>
              <a:avLst/>
              <a:gdLst>
                <a:gd name="T0" fmla="*/ 0 w 4923790"/>
                <a:gd name="T1" fmla="*/ 0 h 45719"/>
                <a:gd name="T2" fmla="*/ 4923790 w 4923790"/>
                <a:gd name="T3" fmla="*/ 45719 h 45719"/>
              </a:gdLst>
              <a:ahLst/>
              <a:cxnLst/>
              <a:rect l="T0" t="T1" r="T2" b="T3"/>
              <a:pathLst>
                <a:path w="4923790" h="45719">
                  <a:moveTo>
                    <a:pt x="0" y="0"/>
                  </a:moveTo>
                  <a:lnTo>
                    <a:pt x="4923399" y="0"/>
                  </a:lnTo>
                </a:path>
              </a:pathLst>
            </a:custGeom>
            <a:noFill/>
            <a:ln w="20941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defTabSz="415721" eaLnBrk="1" hangingPunct="1"/>
              <a:endParaRPr lang="ru-RU" sz="500">
                <a:solidFill>
                  <a:prstClr val="black"/>
                </a:solidFill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1025" name="Прямоугольник 1024"/>
            <p:cNvSpPr/>
            <p:nvPr/>
          </p:nvSpPr>
          <p:spPr>
            <a:xfrm>
              <a:off x="482330" y="3100254"/>
              <a:ext cx="614542" cy="165083"/>
            </a:xfrm>
            <a:prstGeom prst="rect">
              <a:avLst/>
            </a:prstGeom>
          </p:spPr>
          <p:txBody>
            <a:bodyPr wrap="none" lIns="41568" tIns="20783" rIns="41568" bIns="20783">
              <a:spAutoFit/>
            </a:bodyPr>
            <a:lstStyle/>
            <a:p>
              <a:pPr marL="11547" defTabSz="415721" eaLnBrk="1" fontAlgn="auto" hangingPunct="1">
                <a:spcBef>
                  <a:spcPts val="923"/>
                </a:spcBef>
                <a:spcAft>
                  <a:spcPts val="0"/>
                </a:spcAft>
                <a:defRPr/>
              </a:pPr>
              <a:r>
                <a:rPr lang="ru-RU" sz="800" i="1" spc="5" dirty="0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БАРЛЫҒЫ</a:t>
              </a:r>
              <a:endParaRPr lang="ru-RU" sz="800" i="1" spc="5" dirty="0">
                <a:solidFill>
                  <a:prstClr val="black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1027" name="Прямоугольник 1026"/>
            <p:cNvSpPr/>
            <p:nvPr/>
          </p:nvSpPr>
          <p:spPr>
            <a:xfrm>
              <a:off x="482328" y="3438147"/>
              <a:ext cx="1708110" cy="165083"/>
            </a:xfrm>
            <a:prstGeom prst="rect">
              <a:avLst/>
            </a:prstGeom>
          </p:spPr>
          <p:txBody>
            <a:bodyPr wrap="none" lIns="41568" tIns="20783" rIns="41568" bIns="20783">
              <a:spAutoFit/>
            </a:bodyPr>
            <a:lstStyle/>
            <a:p>
              <a:pPr defTabSz="41572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800" i="1" spc="5" dirty="0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ЖҰМЫСПЕН ҚАМТУ ОРТАЛЫҒЫ</a:t>
              </a:r>
              <a:endParaRPr lang="ru-RU" sz="800" i="1" spc="5" dirty="0">
                <a:solidFill>
                  <a:prstClr val="black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3093" name="object 9"/>
            <p:cNvSpPr txBox="1">
              <a:spLocks noChangeArrowheads="1"/>
            </p:cNvSpPr>
            <p:nvPr/>
          </p:nvSpPr>
          <p:spPr bwMode="auto">
            <a:xfrm>
              <a:off x="3809521" y="2987623"/>
              <a:ext cx="601465" cy="2517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5487" rIns="0" bIns="0">
              <a:spAutoFit/>
            </a:bodyPr>
            <a:lstStyle>
              <a:lvl1pPr marL="127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415721" eaLnBrk="1" hangingPunct="1">
                <a:spcBef>
                  <a:spcPts val="45"/>
                </a:spcBef>
              </a:pPr>
              <a:r>
                <a:rPr lang="ru-RU" sz="1600" b="1" dirty="0" smtClean="0">
                  <a:solidFill>
                    <a:srgbClr val="008000"/>
                  </a:solidFill>
                  <a:ea typeface="+mn-ea"/>
                </a:rPr>
                <a:t>792</a:t>
              </a:r>
              <a:endParaRPr lang="ru-RU" sz="1600" b="1" dirty="0">
                <a:solidFill>
                  <a:srgbClr val="008000"/>
                </a:solidFill>
                <a:ea typeface="+mn-ea"/>
              </a:endParaRPr>
            </a:p>
          </p:txBody>
        </p:sp>
        <p:sp>
          <p:nvSpPr>
            <p:cNvPr id="3097" name="object 9"/>
            <p:cNvSpPr txBox="1">
              <a:spLocks noChangeArrowheads="1"/>
            </p:cNvSpPr>
            <p:nvPr/>
          </p:nvSpPr>
          <p:spPr bwMode="auto">
            <a:xfrm>
              <a:off x="3809521" y="3353672"/>
              <a:ext cx="601465" cy="2517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5487" rIns="0" bIns="0">
              <a:spAutoFit/>
            </a:bodyPr>
            <a:lstStyle>
              <a:lvl1pPr marL="127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415721" eaLnBrk="1" hangingPunct="1">
                <a:spcBef>
                  <a:spcPts val="45"/>
                </a:spcBef>
              </a:pPr>
              <a:r>
                <a:rPr lang="ru-RU" sz="1600" b="1" dirty="0" smtClean="0">
                  <a:solidFill>
                    <a:srgbClr val="008000"/>
                  </a:solidFill>
                  <a:ea typeface="+mn-ea"/>
                </a:rPr>
                <a:t>395</a:t>
              </a:r>
              <a:endParaRPr lang="ru-RU" sz="1600" b="1" dirty="0">
                <a:solidFill>
                  <a:srgbClr val="008000"/>
                </a:solidFill>
                <a:ea typeface="+mn-ea"/>
              </a:endParaRPr>
            </a:p>
          </p:txBody>
        </p:sp>
      </p:grpSp>
      <p:sp>
        <p:nvSpPr>
          <p:cNvPr id="162" name="object 9"/>
          <p:cNvSpPr txBox="1"/>
          <p:nvPr/>
        </p:nvSpPr>
        <p:spPr>
          <a:xfrm>
            <a:off x="863573" y="4406342"/>
            <a:ext cx="207949" cy="374872"/>
          </a:xfrm>
          <a:prstGeom prst="rect">
            <a:avLst/>
          </a:prstGeom>
        </p:spPr>
        <p:txBody>
          <a:bodyPr lIns="0" tIns="5487" rIns="0" bIns="0">
            <a:spAutoFit/>
          </a:bodyPr>
          <a:lstStyle/>
          <a:p>
            <a:pPr marL="5774" defTabSz="415721" eaLnBrk="1" fontAlgn="auto" hangingPunct="1">
              <a:spcBef>
                <a:spcPts val="43"/>
              </a:spcBef>
              <a:spcAft>
                <a:spcPts val="0"/>
              </a:spcAft>
              <a:defRPr/>
            </a:pPr>
            <a:r>
              <a:rPr lang="ru-RU" sz="2400" b="1" spc="-5" dirty="0">
                <a:solidFill>
                  <a:prstClr val="white"/>
                </a:solidFill>
                <a:latin typeface="Arial"/>
                <a:ea typeface="+mn-ea"/>
                <a:cs typeface="Arial"/>
              </a:rPr>
              <a:t>1</a:t>
            </a:r>
          </a:p>
        </p:txBody>
      </p:sp>
      <p:sp>
        <p:nvSpPr>
          <p:cNvPr id="163" name="object 9"/>
          <p:cNvSpPr txBox="1"/>
          <p:nvPr/>
        </p:nvSpPr>
        <p:spPr>
          <a:xfrm>
            <a:off x="1036859" y="4554353"/>
            <a:ext cx="1247697" cy="144040"/>
          </a:xfrm>
          <a:prstGeom prst="rect">
            <a:avLst/>
          </a:prstGeom>
        </p:spPr>
        <p:txBody>
          <a:bodyPr lIns="0" tIns="5487" rIns="0" bIns="0">
            <a:spAutoFit/>
          </a:bodyPr>
          <a:lstStyle/>
          <a:p>
            <a:pPr marL="5774" defTabSz="415721" eaLnBrk="1" fontAlgn="auto" hangingPunct="1">
              <a:spcBef>
                <a:spcPts val="43"/>
              </a:spcBef>
              <a:spcAft>
                <a:spcPts val="0"/>
              </a:spcAft>
              <a:defRPr/>
            </a:pPr>
            <a:r>
              <a:rPr lang="ru-RU" sz="900" b="1" i="1" spc="-5" dirty="0" smtClean="0">
                <a:solidFill>
                  <a:prstClr val="white"/>
                </a:solidFill>
                <a:latin typeface="Arial"/>
                <a:cs typeface="Arial"/>
              </a:rPr>
              <a:t>БЮДЖЕТТІК ТЕҢГЕ</a:t>
            </a:r>
            <a:endParaRPr lang="ru-RU" sz="900" b="1" spc="-5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168" name="object 9"/>
          <p:cNvSpPr txBox="1"/>
          <p:nvPr/>
        </p:nvSpPr>
        <p:spPr>
          <a:xfrm>
            <a:off x="2527166" y="4389658"/>
            <a:ext cx="601465" cy="374872"/>
          </a:xfrm>
          <a:prstGeom prst="rect">
            <a:avLst/>
          </a:prstGeom>
        </p:spPr>
        <p:txBody>
          <a:bodyPr lIns="0" tIns="5487" rIns="0" bIns="0">
            <a:spAutoFit/>
          </a:bodyPr>
          <a:lstStyle/>
          <a:p>
            <a:pPr marL="5774" defTabSz="415721" eaLnBrk="1" fontAlgn="auto" hangingPunct="1">
              <a:spcBef>
                <a:spcPts val="43"/>
              </a:spcBef>
              <a:spcAft>
                <a:spcPts val="0"/>
              </a:spcAft>
              <a:defRPr/>
            </a:pPr>
            <a:r>
              <a:rPr lang="ru-RU" sz="2400" b="1" spc="-5" dirty="0">
                <a:solidFill>
                  <a:srgbClr val="00B050"/>
                </a:solidFill>
                <a:latin typeface="Arial"/>
                <a:ea typeface="+mn-ea"/>
                <a:cs typeface="Arial"/>
              </a:rPr>
              <a:t>5</a:t>
            </a:r>
          </a:p>
        </p:txBody>
      </p:sp>
      <p:grpSp>
        <p:nvGrpSpPr>
          <p:cNvPr id="8" name="Группа 7"/>
          <p:cNvGrpSpPr/>
          <p:nvPr/>
        </p:nvGrpSpPr>
        <p:grpSpPr>
          <a:xfrm>
            <a:off x="2966170" y="4438847"/>
            <a:ext cx="930655" cy="276495"/>
            <a:chOff x="2966170" y="4451832"/>
            <a:chExt cx="930655" cy="276495"/>
          </a:xfrm>
        </p:grpSpPr>
        <p:sp>
          <p:nvSpPr>
            <p:cNvPr id="157" name="object 9"/>
            <p:cNvSpPr txBox="1"/>
            <p:nvPr/>
          </p:nvSpPr>
          <p:spPr>
            <a:xfrm>
              <a:off x="3013823" y="4451832"/>
              <a:ext cx="865012" cy="144040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900" b="1" spc="-5" dirty="0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ТЕҢГЕ</a:t>
              </a:r>
              <a:endParaRPr lang="ru-RU" sz="800" b="1" spc="-5" dirty="0">
                <a:solidFill>
                  <a:prstClr val="black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1037" name="Прямоугольник 1036"/>
            <p:cNvSpPr/>
            <p:nvPr/>
          </p:nvSpPr>
          <p:spPr>
            <a:xfrm>
              <a:off x="2966170" y="4547856"/>
              <a:ext cx="930655" cy="180471"/>
            </a:xfrm>
            <a:prstGeom prst="rect">
              <a:avLst/>
            </a:prstGeom>
          </p:spPr>
          <p:txBody>
            <a:bodyPr wrap="none" lIns="41568" tIns="20783" rIns="41568" bIns="20783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900" b="1" spc="-5" dirty="0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ИНВЕСТИЦИЯ </a:t>
              </a:r>
              <a:endParaRPr lang="ru-RU" sz="900" b="1" spc="-5" dirty="0">
                <a:solidFill>
                  <a:prstClr val="black"/>
                </a:solidFill>
                <a:latin typeface="Arial"/>
                <a:ea typeface="+mn-ea"/>
                <a:cs typeface="Arial"/>
              </a:endParaRPr>
            </a:p>
          </p:txBody>
        </p:sp>
      </p:grpSp>
      <p:grpSp>
        <p:nvGrpSpPr>
          <p:cNvPr id="6" name="Группа 5"/>
          <p:cNvGrpSpPr/>
          <p:nvPr/>
        </p:nvGrpSpPr>
        <p:grpSpPr>
          <a:xfrm>
            <a:off x="378352" y="3771053"/>
            <a:ext cx="4055015" cy="522274"/>
            <a:chOff x="378352" y="3782267"/>
            <a:chExt cx="4055015" cy="522274"/>
          </a:xfrm>
        </p:grpSpPr>
        <p:sp>
          <p:nvSpPr>
            <p:cNvPr id="3098" name="object 37"/>
            <p:cNvSpPr txBox="1">
              <a:spLocks noChangeArrowheads="1"/>
            </p:cNvSpPr>
            <p:nvPr/>
          </p:nvSpPr>
          <p:spPr bwMode="auto">
            <a:xfrm>
              <a:off x="447669" y="3806367"/>
              <a:ext cx="1514132" cy="4715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5197" rIns="0" bIns="0">
              <a:spAutoFit/>
            </a:bodyPr>
            <a:lstStyle>
              <a:lvl1pPr marL="127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415721" eaLnBrk="1" hangingPunct="1">
                <a:lnSpc>
                  <a:spcPct val="101000"/>
                </a:lnSpc>
                <a:spcBef>
                  <a:spcPts val="40"/>
                </a:spcBef>
              </a:pPr>
              <a:r>
                <a:rPr lang="ru-RU" sz="1500" b="1" dirty="0" smtClean="0">
                  <a:solidFill>
                    <a:srgbClr val="C0504D"/>
                  </a:solidFill>
                </a:rPr>
                <a:t>ЖЕКЕ</a:t>
              </a:r>
            </a:p>
            <a:p>
              <a:pPr defTabSz="415721" eaLnBrk="1" hangingPunct="1">
                <a:lnSpc>
                  <a:spcPct val="101000"/>
                </a:lnSpc>
                <a:spcBef>
                  <a:spcPts val="40"/>
                </a:spcBef>
              </a:pPr>
              <a:r>
                <a:rPr lang="ru-RU" sz="1500" b="1" dirty="0" smtClean="0">
                  <a:solidFill>
                    <a:srgbClr val="C0504D"/>
                  </a:solidFill>
                </a:rPr>
                <a:t>ИНВЕСТИЦИЯ</a:t>
              </a:r>
              <a:endParaRPr lang="ru-RU" sz="1500" b="1" dirty="0">
                <a:solidFill>
                  <a:srgbClr val="C0504D"/>
                </a:solidFill>
              </a:endParaRPr>
            </a:p>
          </p:txBody>
        </p:sp>
        <p:cxnSp>
          <p:nvCxnSpPr>
            <p:cNvPr id="1031" name="Прямая соединительная линия 1030"/>
            <p:cNvCxnSpPr/>
            <p:nvPr/>
          </p:nvCxnSpPr>
          <p:spPr>
            <a:xfrm>
              <a:off x="378357" y="4293711"/>
              <a:ext cx="3777749" cy="1083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05" name="object 39"/>
            <p:cNvSpPr>
              <a:spLocks noChangeArrowheads="1"/>
            </p:cNvSpPr>
            <p:nvPr/>
          </p:nvSpPr>
          <p:spPr bwMode="auto">
            <a:xfrm flipV="1">
              <a:off x="2180581" y="3923326"/>
              <a:ext cx="1975520" cy="69312"/>
            </a:xfrm>
            <a:custGeom>
              <a:avLst/>
              <a:gdLst>
                <a:gd name="T0" fmla="*/ 0 w 3094990"/>
                <a:gd name="T1" fmla="*/ 0 h 152400"/>
                <a:gd name="T2" fmla="*/ 3094990 w 3094990"/>
                <a:gd name="T3" fmla="*/ 152400 h 152400"/>
              </a:gdLst>
              <a:ahLst/>
              <a:cxnLst/>
              <a:rect l="T0" t="T1" r="T2" b="T3"/>
              <a:pathLst>
                <a:path w="3094990" h="152400">
                  <a:moveTo>
                    <a:pt x="3094494" y="0"/>
                  </a:moveTo>
                  <a:lnTo>
                    <a:pt x="0" y="0"/>
                  </a:lnTo>
                </a:path>
              </a:pathLst>
            </a:custGeom>
            <a:noFill/>
            <a:ln w="25400">
              <a:solidFill>
                <a:schemeClr val="tx2"/>
              </a:solidFill>
              <a:prstDash val="sys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defTabSz="415721" eaLnBrk="1" hangingPunct="1"/>
              <a:endParaRPr lang="ru-RU" sz="800">
                <a:solidFill>
                  <a:srgbClr val="006600"/>
                </a:solidFill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106" name="object 9"/>
            <p:cNvSpPr txBox="1">
              <a:spLocks noChangeArrowheads="1"/>
            </p:cNvSpPr>
            <p:nvPr/>
          </p:nvSpPr>
          <p:spPr bwMode="auto">
            <a:xfrm>
              <a:off x="3131574" y="3782267"/>
              <a:ext cx="462832" cy="2209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5487" rIns="0" bIns="0">
              <a:spAutoFit/>
            </a:bodyPr>
            <a:lstStyle>
              <a:lvl1pPr marL="127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415721" eaLnBrk="1" hangingPunct="1">
                <a:spcBef>
                  <a:spcPts val="45"/>
                </a:spcBef>
              </a:pPr>
              <a:r>
                <a:rPr lang="ru-RU" b="1" dirty="0" smtClean="0">
                  <a:solidFill>
                    <a:srgbClr val="002060"/>
                  </a:solidFill>
                  <a:ea typeface="+mn-ea"/>
                </a:rPr>
                <a:t>40</a:t>
              </a:r>
              <a:endParaRPr lang="ru-RU" b="1" dirty="0">
                <a:solidFill>
                  <a:srgbClr val="002060"/>
                </a:solidFill>
                <a:ea typeface="+mn-ea"/>
              </a:endParaRPr>
            </a:p>
          </p:txBody>
        </p:sp>
        <p:sp>
          <p:nvSpPr>
            <p:cNvPr id="173" name="object 9"/>
            <p:cNvSpPr txBox="1"/>
            <p:nvPr/>
          </p:nvSpPr>
          <p:spPr>
            <a:xfrm>
              <a:off x="3423219" y="3819362"/>
              <a:ext cx="767540" cy="174818"/>
            </a:xfrm>
            <a:prstGeom prst="rect">
              <a:avLst/>
            </a:prstGeom>
          </p:spPr>
          <p:txBody>
            <a:bodyPr wrap="square" lIns="0" tIns="5487" rIns="0" bIns="0">
              <a:spAutoFit/>
            </a:bodyPr>
            <a:lstStyle/>
            <a:p>
              <a:pPr marL="5774" algn="ctr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1100" b="1" i="1" spc="-5" dirty="0" err="1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жоба</a:t>
              </a:r>
              <a:endParaRPr lang="ru-RU" sz="1100" b="1" i="1" spc="-5" dirty="0">
                <a:solidFill>
                  <a:prstClr val="black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3108" name="object 9"/>
            <p:cNvSpPr txBox="1">
              <a:spLocks noChangeArrowheads="1"/>
            </p:cNvSpPr>
            <p:nvPr/>
          </p:nvSpPr>
          <p:spPr bwMode="auto">
            <a:xfrm>
              <a:off x="3106635" y="4077546"/>
              <a:ext cx="462832" cy="2209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5487" rIns="0" bIns="0">
              <a:spAutoFit/>
            </a:bodyPr>
            <a:lstStyle>
              <a:lvl1pPr marL="127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415721" eaLnBrk="1" hangingPunct="1">
                <a:spcBef>
                  <a:spcPts val="45"/>
                </a:spcBef>
              </a:pPr>
              <a:r>
                <a:rPr lang="ru-RU" b="1" dirty="0" smtClean="0">
                  <a:solidFill>
                    <a:srgbClr val="002060"/>
                  </a:solidFill>
                  <a:ea typeface="+mn-ea"/>
                </a:rPr>
                <a:t>2,6</a:t>
              </a:r>
              <a:endParaRPr lang="ru-RU" b="1" dirty="0">
                <a:solidFill>
                  <a:srgbClr val="002060"/>
                </a:solidFill>
                <a:ea typeface="+mn-ea"/>
              </a:endParaRPr>
            </a:p>
          </p:txBody>
        </p:sp>
        <p:sp>
          <p:nvSpPr>
            <p:cNvPr id="175" name="object 9"/>
            <p:cNvSpPr txBox="1"/>
            <p:nvPr/>
          </p:nvSpPr>
          <p:spPr>
            <a:xfrm>
              <a:off x="3229715" y="4124044"/>
              <a:ext cx="1203652" cy="167123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algn="ctr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1050" b="1" i="1" spc="-5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млрд. </a:t>
              </a:r>
              <a:r>
                <a:rPr lang="ru-RU" sz="1050" b="1" i="1" spc="-5" dirty="0" err="1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тенңе</a:t>
              </a:r>
              <a:endParaRPr lang="ru-RU" sz="1050" b="1" i="1" spc="-5" dirty="0">
                <a:solidFill>
                  <a:prstClr val="black"/>
                </a:solidFill>
                <a:latin typeface="Arial"/>
                <a:ea typeface="+mn-ea"/>
                <a:cs typeface="Arial"/>
              </a:endParaRPr>
            </a:p>
          </p:txBody>
        </p:sp>
        <p:cxnSp>
          <p:nvCxnSpPr>
            <p:cNvPr id="1040" name="Прямая соединительная линия 1039"/>
            <p:cNvCxnSpPr/>
            <p:nvPr/>
          </p:nvCxnSpPr>
          <p:spPr>
            <a:xfrm>
              <a:off x="378352" y="3871343"/>
              <a:ext cx="0" cy="42236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1" name="Прямоугольник с двумя вырезанными противолежащими углами 180"/>
          <p:cNvSpPr/>
          <p:nvPr/>
        </p:nvSpPr>
        <p:spPr>
          <a:xfrm rot="16200000">
            <a:off x="4619286" y="678013"/>
            <a:ext cx="4237707" cy="4193648"/>
          </a:xfrm>
          <a:prstGeom prst="snip2DiagRect">
            <a:avLst>
              <a:gd name="adj1" fmla="val 0"/>
              <a:gd name="adj2" fmla="val 8907"/>
            </a:avLst>
          </a:prstGeom>
          <a:ln w="28514">
            <a:solidFill>
              <a:srgbClr val="385D8A"/>
            </a:solidFill>
          </a:ln>
        </p:spPr>
        <p:txBody>
          <a:bodyPr wrap="square" lIns="0" tIns="0" rIns="0" bIns="0" rtlCol="0"/>
          <a:lstStyle/>
          <a:p>
            <a:pPr defTabSz="405409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800">
              <a:solidFill>
                <a:prstClr val="black"/>
              </a:solidFill>
              <a:latin typeface="Calibri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82" name="object 9"/>
          <p:cNvSpPr txBox="1"/>
          <p:nvPr/>
        </p:nvSpPr>
        <p:spPr>
          <a:xfrm>
            <a:off x="4641316" y="863893"/>
            <a:ext cx="4193648" cy="220984"/>
          </a:xfrm>
          <a:prstGeom prst="rect">
            <a:avLst/>
          </a:prstGeom>
        </p:spPr>
        <p:txBody>
          <a:bodyPr lIns="0" tIns="5487" rIns="0" bIns="0">
            <a:spAutoFit/>
          </a:bodyPr>
          <a:lstStyle/>
          <a:p>
            <a:pPr marL="5774" algn="ctr" defTabSz="4157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spc="-5" dirty="0">
                <a:solidFill>
                  <a:srgbClr val="008000"/>
                </a:solidFill>
                <a:latin typeface="Arial"/>
                <a:ea typeface="+mn-ea"/>
                <a:cs typeface="Arial"/>
              </a:rPr>
              <a:t>В 2021 ГОДУ </a:t>
            </a:r>
          </a:p>
        </p:txBody>
      </p:sp>
      <p:sp>
        <p:nvSpPr>
          <p:cNvPr id="3121" name="object 37"/>
          <p:cNvSpPr txBox="1">
            <a:spLocks noChangeArrowheads="1"/>
          </p:cNvSpPr>
          <p:nvPr/>
        </p:nvSpPr>
        <p:spPr bwMode="auto">
          <a:xfrm>
            <a:off x="4779950" y="2440952"/>
            <a:ext cx="2894690" cy="2238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5197" rIns="0" bIns="0">
            <a:spAutoFit/>
          </a:bodyPr>
          <a:lstStyle>
            <a:lvl1pPr marL="127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415721" eaLnBrk="1" hangingPunct="1">
              <a:lnSpc>
                <a:spcPct val="101000"/>
              </a:lnSpc>
              <a:spcBef>
                <a:spcPts val="40"/>
              </a:spcBef>
            </a:pPr>
            <a:r>
              <a:rPr lang="ru-RU" sz="1500" b="1" dirty="0" smtClean="0">
                <a:solidFill>
                  <a:srgbClr val="008000"/>
                </a:solidFill>
              </a:rPr>
              <a:t>ЖҰМЫС ОРЫНДАРЫН ҚҰРУ</a:t>
            </a:r>
            <a:endParaRPr lang="ru-RU" sz="1500" b="1" dirty="0">
              <a:solidFill>
                <a:srgbClr val="008000"/>
              </a:solidFill>
            </a:endParaRPr>
          </a:p>
        </p:txBody>
      </p:sp>
      <p:grpSp>
        <p:nvGrpSpPr>
          <p:cNvPr id="3" name="Группа 2"/>
          <p:cNvGrpSpPr/>
          <p:nvPr/>
        </p:nvGrpSpPr>
        <p:grpSpPr>
          <a:xfrm>
            <a:off x="5022558" y="1341700"/>
            <a:ext cx="3604457" cy="1020661"/>
            <a:chOff x="5010288" y="1636043"/>
            <a:chExt cx="3604457" cy="927874"/>
          </a:xfrm>
        </p:grpSpPr>
        <p:sp>
          <p:nvSpPr>
            <p:cNvPr id="3113" name="object 39"/>
            <p:cNvSpPr>
              <a:spLocks noChangeArrowheads="1"/>
            </p:cNvSpPr>
            <p:nvPr/>
          </p:nvSpPr>
          <p:spPr bwMode="auto">
            <a:xfrm flipV="1">
              <a:off x="6985808" y="2051913"/>
              <a:ext cx="1628937" cy="69312"/>
            </a:xfrm>
            <a:custGeom>
              <a:avLst/>
              <a:gdLst>
                <a:gd name="T0" fmla="*/ 0 w 3094990"/>
                <a:gd name="T1" fmla="*/ 0 h 152400"/>
                <a:gd name="T2" fmla="*/ 3094990 w 3094990"/>
                <a:gd name="T3" fmla="*/ 152400 h 152400"/>
              </a:gdLst>
              <a:ahLst/>
              <a:cxnLst/>
              <a:rect l="T0" t="T1" r="T2" b="T3"/>
              <a:pathLst>
                <a:path w="3094990" h="152400">
                  <a:moveTo>
                    <a:pt x="3094494" y="0"/>
                  </a:moveTo>
                  <a:lnTo>
                    <a:pt x="0" y="0"/>
                  </a:lnTo>
                </a:path>
              </a:pathLst>
            </a:custGeom>
            <a:noFill/>
            <a:ln w="25400">
              <a:solidFill>
                <a:schemeClr val="tx2"/>
              </a:solidFill>
              <a:prstDash val="sys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defTabSz="415721" eaLnBrk="1" hangingPunct="1"/>
              <a:endParaRPr lang="ru-RU" sz="800">
                <a:solidFill>
                  <a:srgbClr val="006600"/>
                </a:solidFill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198" name="object 9"/>
            <p:cNvSpPr txBox="1"/>
            <p:nvPr/>
          </p:nvSpPr>
          <p:spPr>
            <a:xfrm>
              <a:off x="6881828" y="1636043"/>
              <a:ext cx="1202930" cy="424732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algn="ctr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3000" b="1" spc="-5" dirty="0" smtClean="0">
                  <a:solidFill>
                    <a:srgbClr val="002060"/>
                  </a:solidFill>
                  <a:latin typeface="Arial"/>
                  <a:ea typeface="+mn-ea"/>
                  <a:cs typeface="Arial"/>
                </a:rPr>
                <a:t>570,5</a:t>
              </a:r>
              <a:endParaRPr lang="ru-RU" sz="3000" b="1" spc="-5" dirty="0">
                <a:solidFill>
                  <a:srgbClr val="002060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199" name="object 9"/>
            <p:cNvSpPr txBox="1"/>
            <p:nvPr/>
          </p:nvSpPr>
          <p:spPr>
            <a:xfrm>
              <a:off x="8012558" y="1710409"/>
              <a:ext cx="602187" cy="312814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1100" b="1" spc="-5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млн. </a:t>
              </a:r>
              <a:r>
                <a:rPr lang="kk-KZ" sz="1100" b="1" spc="-5" dirty="0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теңге </a:t>
              </a:r>
              <a:endParaRPr lang="kk-KZ" sz="1100" b="1" spc="-5" dirty="0">
                <a:solidFill>
                  <a:prstClr val="black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200" name="object 9"/>
            <p:cNvSpPr txBox="1"/>
            <p:nvPr/>
          </p:nvSpPr>
          <p:spPr>
            <a:xfrm>
              <a:off x="7206028" y="2121225"/>
              <a:ext cx="601465" cy="424732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3000" b="1" spc="-5" dirty="0" smtClean="0">
                  <a:solidFill>
                    <a:srgbClr val="002060"/>
                  </a:solidFill>
                  <a:latin typeface="Arial"/>
                  <a:ea typeface="+mn-ea"/>
                  <a:cs typeface="Arial"/>
                </a:rPr>
                <a:t>7</a:t>
              </a:r>
              <a:endParaRPr lang="ru-RU" sz="3000" b="1" spc="-5" dirty="0">
                <a:solidFill>
                  <a:srgbClr val="002060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201" name="object 9"/>
            <p:cNvSpPr txBox="1"/>
            <p:nvPr/>
          </p:nvSpPr>
          <p:spPr>
            <a:xfrm>
              <a:off x="7275343" y="2307501"/>
              <a:ext cx="1203652" cy="214885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algn="ctr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1500" b="1" spc="-5" dirty="0" err="1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жоба</a:t>
              </a:r>
              <a:endParaRPr lang="ru-RU" sz="1500" b="1" spc="-5" dirty="0">
                <a:solidFill>
                  <a:prstClr val="black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202" name="object 9"/>
            <p:cNvSpPr txBox="1"/>
            <p:nvPr/>
          </p:nvSpPr>
          <p:spPr>
            <a:xfrm>
              <a:off x="5044941" y="1666162"/>
              <a:ext cx="335030" cy="424732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3000" b="1" spc="-5" dirty="0" smtClean="0">
                  <a:solidFill>
                    <a:srgbClr val="002060"/>
                  </a:solidFill>
                  <a:latin typeface="Arial"/>
                  <a:ea typeface="+mn-ea"/>
                  <a:cs typeface="Arial"/>
                </a:rPr>
                <a:t>4</a:t>
              </a:r>
              <a:endParaRPr lang="ru-RU" sz="3000" b="1" spc="-5" dirty="0">
                <a:solidFill>
                  <a:srgbClr val="002060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203" name="Прямоугольник 202"/>
            <p:cNvSpPr/>
            <p:nvPr/>
          </p:nvSpPr>
          <p:spPr>
            <a:xfrm>
              <a:off x="5303435" y="1667048"/>
              <a:ext cx="811391" cy="192045"/>
            </a:xfrm>
            <a:prstGeom prst="rect">
              <a:avLst/>
            </a:prstGeom>
          </p:spPr>
          <p:txBody>
            <a:bodyPr wrap="none" lIns="41568" tIns="20783" rIns="41568" bIns="20783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1100" b="1" spc="-5" dirty="0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АУЫЛДАР</a:t>
              </a:r>
              <a:endParaRPr lang="ru-RU" sz="1100" b="1" spc="-5" dirty="0">
                <a:solidFill>
                  <a:prstClr val="black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204" name="Прямоугольник 203"/>
            <p:cNvSpPr/>
            <p:nvPr/>
          </p:nvSpPr>
          <p:spPr>
            <a:xfrm>
              <a:off x="5285383" y="1833830"/>
              <a:ext cx="1288765" cy="289974"/>
            </a:xfrm>
            <a:prstGeom prst="rect">
              <a:avLst/>
            </a:prstGeom>
          </p:spPr>
          <p:txBody>
            <a:bodyPr wrap="none" lIns="41568" tIns="20783" rIns="41568" bIns="20783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900" b="1" i="1" spc="-5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Казанка, </a:t>
              </a:r>
              <a:r>
                <a:rPr lang="kk-KZ" sz="900" b="1" i="1" spc="-5" dirty="0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Саржансай, </a:t>
              </a:r>
            </a:p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kk-KZ" sz="900" b="1" i="1" spc="-5" dirty="0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Жайсан, Сарыжар</a:t>
              </a:r>
              <a:endParaRPr lang="kk-KZ" sz="900" b="1" i="1" spc="-5" dirty="0">
                <a:solidFill>
                  <a:prstClr val="black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212" name="object 9"/>
            <p:cNvSpPr txBox="1"/>
            <p:nvPr/>
          </p:nvSpPr>
          <p:spPr>
            <a:xfrm>
              <a:off x="5287548" y="2181154"/>
              <a:ext cx="1351672" cy="382763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2700" b="1" spc="-5" dirty="0" smtClean="0">
                  <a:solidFill>
                    <a:srgbClr val="002060"/>
                  </a:solidFill>
                  <a:latin typeface="Arial"/>
                  <a:ea typeface="+mn-ea"/>
                  <a:cs typeface="Arial"/>
                </a:rPr>
                <a:t>5,3</a:t>
              </a:r>
              <a:endParaRPr lang="ru-RU" sz="2700" b="1" spc="-5" dirty="0">
                <a:solidFill>
                  <a:srgbClr val="002060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213" name="Прямоугольник 212"/>
            <p:cNvSpPr/>
            <p:nvPr/>
          </p:nvSpPr>
          <p:spPr>
            <a:xfrm>
              <a:off x="5797315" y="2215809"/>
              <a:ext cx="727823" cy="327222"/>
            </a:xfrm>
            <a:prstGeom prst="rect">
              <a:avLst/>
            </a:prstGeom>
          </p:spPr>
          <p:txBody>
            <a:bodyPr lIns="41568" tIns="20783" rIns="41568" bIns="20783">
              <a:spAutoFit/>
            </a:bodyPr>
            <a:lstStyle/>
            <a:p>
              <a:pPr marL="5774" defTabSz="415721" eaLnBrk="1" fontAlgn="auto" hangingPunct="1">
                <a:lnSpc>
                  <a:spcPts val="1262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900" b="1" i="1" spc="-5" dirty="0" err="1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мың</a:t>
              </a:r>
              <a:r>
                <a:rPr lang="ru-RU" sz="900" b="1" i="1" spc="-5" dirty="0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 </a:t>
              </a:r>
            </a:p>
            <a:p>
              <a:pPr marL="5774" defTabSz="415721" eaLnBrk="1" fontAlgn="auto" hangingPunct="1">
                <a:lnSpc>
                  <a:spcPts val="1262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900" b="1" i="1" spc="-5" dirty="0" err="1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адам</a:t>
              </a:r>
              <a:endParaRPr lang="ru-RU" sz="900" b="1" i="1" spc="-5" dirty="0">
                <a:solidFill>
                  <a:prstClr val="black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3130" name="object 39"/>
            <p:cNvSpPr>
              <a:spLocks noChangeArrowheads="1"/>
            </p:cNvSpPr>
            <p:nvPr/>
          </p:nvSpPr>
          <p:spPr bwMode="auto">
            <a:xfrm flipV="1">
              <a:off x="5010288" y="2051913"/>
              <a:ext cx="1628937" cy="69312"/>
            </a:xfrm>
            <a:custGeom>
              <a:avLst/>
              <a:gdLst>
                <a:gd name="T0" fmla="*/ 0 w 3094990"/>
                <a:gd name="T1" fmla="*/ 0 h 152400"/>
                <a:gd name="T2" fmla="*/ 3094990 w 3094990"/>
                <a:gd name="T3" fmla="*/ 152400 h 152400"/>
              </a:gdLst>
              <a:ahLst/>
              <a:cxnLst/>
              <a:rect l="T0" t="T1" r="T2" b="T3"/>
              <a:pathLst>
                <a:path w="3094990" h="152400">
                  <a:moveTo>
                    <a:pt x="3094494" y="0"/>
                  </a:moveTo>
                  <a:lnTo>
                    <a:pt x="0" y="0"/>
                  </a:lnTo>
                </a:path>
              </a:pathLst>
            </a:custGeom>
            <a:noFill/>
            <a:ln w="25400">
              <a:solidFill>
                <a:schemeClr val="tx2"/>
              </a:solidFill>
              <a:prstDash val="sys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defTabSz="415721" eaLnBrk="1" hangingPunct="1"/>
              <a:endParaRPr lang="ru-RU" sz="800">
                <a:solidFill>
                  <a:srgbClr val="006600"/>
                </a:solidFill>
                <a:latin typeface="Calibri" pitchFamily="34" charset="0"/>
                <a:ea typeface="+mn-ea"/>
                <a:cs typeface="Arial" charset="0"/>
              </a:endParaRPr>
            </a:p>
          </p:txBody>
        </p:sp>
      </p:grpSp>
      <p:sp>
        <p:nvSpPr>
          <p:cNvPr id="226" name="Пятиугольник 225"/>
          <p:cNvSpPr/>
          <p:nvPr/>
        </p:nvSpPr>
        <p:spPr>
          <a:xfrm>
            <a:off x="5265170" y="4362914"/>
            <a:ext cx="1628937" cy="447132"/>
          </a:xfrm>
          <a:prstGeom prst="homePlat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568" tIns="20783" rIns="41568" bIns="20783" anchor="ctr"/>
          <a:lstStyle/>
          <a:p>
            <a:pPr algn="ctr" defTabSz="4157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900">
              <a:solidFill>
                <a:prstClr val="white"/>
              </a:solidFill>
            </a:endParaRPr>
          </a:p>
        </p:txBody>
      </p:sp>
      <p:sp>
        <p:nvSpPr>
          <p:cNvPr id="230" name="object 9"/>
          <p:cNvSpPr txBox="1"/>
          <p:nvPr/>
        </p:nvSpPr>
        <p:spPr>
          <a:xfrm>
            <a:off x="5334487" y="4415728"/>
            <a:ext cx="207949" cy="374872"/>
          </a:xfrm>
          <a:prstGeom prst="rect">
            <a:avLst/>
          </a:prstGeom>
        </p:spPr>
        <p:txBody>
          <a:bodyPr lIns="0" tIns="5487" rIns="0" bIns="0">
            <a:spAutoFit/>
          </a:bodyPr>
          <a:lstStyle/>
          <a:p>
            <a:pPr marL="5774" defTabSz="415721" eaLnBrk="1" fontAlgn="auto" hangingPunct="1">
              <a:spcBef>
                <a:spcPts val="43"/>
              </a:spcBef>
              <a:spcAft>
                <a:spcPts val="0"/>
              </a:spcAft>
              <a:defRPr/>
            </a:pPr>
            <a:r>
              <a:rPr lang="ru-RU" sz="2400" b="1" spc="-5" dirty="0">
                <a:solidFill>
                  <a:prstClr val="white"/>
                </a:solidFill>
                <a:latin typeface="Arial"/>
                <a:ea typeface="+mn-ea"/>
                <a:cs typeface="Arial"/>
              </a:rPr>
              <a:t>1</a:t>
            </a:r>
          </a:p>
        </p:txBody>
      </p:sp>
      <p:sp>
        <p:nvSpPr>
          <p:cNvPr id="231" name="object 9"/>
          <p:cNvSpPr txBox="1"/>
          <p:nvPr/>
        </p:nvSpPr>
        <p:spPr>
          <a:xfrm>
            <a:off x="5507772" y="4563738"/>
            <a:ext cx="1247697" cy="144040"/>
          </a:xfrm>
          <a:prstGeom prst="rect">
            <a:avLst/>
          </a:prstGeom>
        </p:spPr>
        <p:txBody>
          <a:bodyPr lIns="0" tIns="5487" rIns="0" bIns="0">
            <a:spAutoFit/>
          </a:bodyPr>
          <a:lstStyle/>
          <a:p>
            <a:pPr marL="5774" defTabSz="415721" eaLnBrk="1" fontAlgn="auto" hangingPunct="1">
              <a:spcBef>
                <a:spcPts val="43"/>
              </a:spcBef>
              <a:spcAft>
                <a:spcPts val="0"/>
              </a:spcAft>
              <a:defRPr/>
            </a:pPr>
            <a:r>
              <a:rPr lang="ru-RU" sz="900" b="1" i="1" spc="-5" dirty="0" smtClean="0">
                <a:solidFill>
                  <a:prstClr val="white"/>
                </a:solidFill>
                <a:latin typeface="Arial"/>
                <a:cs typeface="Arial"/>
              </a:rPr>
              <a:t>БЮДЖЕТТІК ТЕҢГЕ</a:t>
            </a:r>
            <a:endParaRPr lang="ru-RU" sz="900" b="1" spc="-5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232" name="object 9"/>
          <p:cNvSpPr txBox="1"/>
          <p:nvPr/>
        </p:nvSpPr>
        <p:spPr>
          <a:xfrm>
            <a:off x="6998079" y="4399044"/>
            <a:ext cx="601465" cy="374872"/>
          </a:xfrm>
          <a:prstGeom prst="rect">
            <a:avLst/>
          </a:prstGeom>
        </p:spPr>
        <p:txBody>
          <a:bodyPr lIns="0" tIns="5487" rIns="0" bIns="0">
            <a:spAutoFit/>
          </a:bodyPr>
          <a:lstStyle/>
          <a:p>
            <a:pPr marL="5774" defTabSz="415721" eaLnBrk="1" fontAlgn="auto" hangingPunct="1">
              <a:spcBef>
                <a:spcPts val="43"/>
              </a:spcBef>
              <a:spcAft>
                <a:spcPts val="0"/>
              </a:spcAft>
              <a:defRPr/>
            </a:pPr>
            <a:r>
              <a:rPr lang="ru-RU" sz="2400" b="1" spc="-5" dirty="0">
                <a:solidFill>
                  <a:srgbClr val="00B050"/>
                </a:solidFill>
                <a:latin typeface="Arial"/>
                <a:ea typeface="+mn-ea"/>
                <a:cs typeface="Arial"/>
              </a:rPr>
              <a:t>7</a:t>
            </a:r>
          </a:p>
        </p:txBody>
      </p:sp>
      <p:grpSp>
        <p:nvGrpSpPr>
          <p:cNvPr id="9" name="Группа 8"/>
          <p:cNvGrpSpPr/>
          <p:nvPr/>
        </p:nvGrpSpPr>
        <p:grpSpPr>
          <a:xfrm>
            <a:off x="7437084" y="4448231"/>
            <a:ext cx="930655" cy="276498"/>
            <a:chOff x="7437084" y="4461214"/>
            <a:chExt cx="930655" cy="276498"/>
          </a:xfrm>
        </p:grpSpPr>
        <p:sp>
          <p:nvSpPr>
            <p:cNvPr id="228" name="object 9"/>
            <p:cNvSpPr txBox="1"/>
            <p:nvPr/>
          </p:nvSpPr>
          <p:spPr>
            <a:xfrm>
              <a:off x="7484737" y="4461214"/>
              <a:ext cx="865012" cy="144040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900" b="1" spc="-5" dirty="0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ТЕҢГЕ</a:t>
              </a:r>
              <a:endParaRPr lang="ru-RU" sz="800" b="1" spc="-5" dirty="0">
                <a:solidFill>
                  <a:prstClr val="black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233" name="Прямоугольник 232"/>
            <p:cNvSpPr/>
            <p:nvPr/>
          </p:nvSpPr>
          <p:spPr>
            <a:xfrm>
              <a:off x="7437084" y="4557241"/>
              <a:ext cx="930655" cy="180471"/>
            </a:xfrm>
            <a:prstGeom prst="rect">
              <a:avLst/>
            </a:prstGeom>
          </p:spPr>
          <p:txBody>
            <a:bodyPr wrap="none" lIns="41568" tIns="20783" rIns="41568" bIns="20783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900" b="1" spc="-5" dirty="0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ИНВЕСТИЦИЯ </a:t>
              </a:r>
              <a:endParaRPr lang="ru-RU" sz="900" b="1" spc="-5" dirty="0">
                <a:solidFill>
                  <a:prstClr val="black"/>
                </a:solidFill>
                <a:latin typeface="Arial"/>
                <a:ea typeface="+mn-ea"/>
                <a:cs typeface="Arial"/>
              </a:endParaRPr>
            </a:p>
          </p:txBody>
        </p:sp>
      </p:grpSp>
      <p:grpSp>
        <p:nvGrpSpPr>
          <p:cNvPr id="7" name="Группа 6"/>
          <p:cNvGrpSpPr/>
          <p:nvPr/>
        </p:nvGrpSpPr>
        <p:grpSpPr>
          <a:xfrm>
            <a:off x="4814608" y="3741598"/>
            <a:ext cx="4055014" cy="556420"/>
            <a:chOff x="4814608" y="3765449"/>
            <a:chExt cx="4055014" cy="556420"/>
          </a:xfrm>
        </p:grpSpPr>
        <p:sp>
          <p:nvSpPr>
            <p:cNvPr id="3142" name="object 37"/>
            <p:cNvSpPr txBox="1">
              <a:spLocks noChangeArrowheads="1"/>
            </p:cNvSpPr>
            <p:nvPr/>
          </p:nvSpPr>
          <p:spPr bwMode="auto">
            <a:xfrm>
              <a:off x="4883924" y="3815753"/>
              <a:ext cx="1514132" cy="4715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5197" rIns="0" bIns="0">
              <a:spAutoFit/>
            </a:bodyPr>
            <a:lstStyle>
              <a:lvl1pPr marL="127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415721" eaLnBrk="1" hangingPunct="1">
                <a:lnSpc>
                  <a:spcPct val="101000"/>
                </a:lnSpc>
                <a:spcBef>
                  <a:spcPts val="40"/>
                </a:spcBef>
              </a:pPr>
              <a:r>
                <a:rPr lang="ru-RU" sz="1500" b="1" dirty="0" smtClean="0">
                  <a:solidFill>
                    <a:srgbClr val="C0504D"/>
                  </a:solidFill>
                </a:rPr>
                <a:t>ЖЕКЕ</a:t>
              </a:r>
            </a:p>
            <a:p>
              <a:pPr defTabSz="415721" eaLnBrk="1" hangingPunct="1">
                <a:lnSpc>
                  <a:spcPct val="101000"/>
                </a:lnSpc>
                <a:spcBef>
                  <a:spcPts val="40"/>
                </a:spcBef>
              </a:pPr>
              <a:r>
                <a:rPr lang="ru-RU" sz="1500" b="1" dirty="0" smtClean="0">
                  <a:solidFill>
                    <a:srgbClr val="C0504D"/>
                  </a:solidFill>
                </a:rPr>
                <a:t>ИНВЕСТИЦИЯ</a:t>
              </a:r>
              <a:endParaRPr lang="ru-RU" sz="1500" b="1" dirty="0">
                <a:solidFill>
                  <a:srgbClr val="C0504D"/>
                </a:solidFill>
              </a:endParaRPr>
            </a:p>
          </p:txBody>
        </p:sp>
        <p:cxnSp>
          <p:nvCxnSpPr>
            <p:cNvPr id="229" name="Прямая соединительная линия 228"/>
            <p:cNvCxnSpPr/>
            <p:nvPr/>
          </p:nvCxnSpPr>
          <p:spPr>
            <a:xfrm>
              <a:off x="4814612" y="4311761"/>
              <a:ext cx="3777749" cy="1010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49" name="object 39"/>
            <p:cNvSpPr>
              <a:spLocks noChangeArrowheads="1"/>
            </p:cNvSpPr>
            <p:nvPr/>
          </p:nvSpPr>
          <p:spPr bwMode="auto">
            <a:xfrm flipV="1">
              <a:off x="6616836" y="3932713"/>
              <a:ext cx="1975520" cy="69312"/>
            </a:xfrm>
            <a:custGeom>
              <a:avLst/>
              <a:gdLst>
                <a:gd name="T0" fmla="*/ 0 w 3094990"/>
                <a:gd name="T1" fmla="*/ 0 h 152400"/>
                <a:gd name="T2" fmla="*/ 3094990 w 3094990"/>
                <a:gd name="T3" fmla="*/ 152400 h 152400"/>
              </a:gdLst>
              <a:ahLst/>
              <a:cxnLst/>
              <a:rect l="T0" t="T1" r="T2" b="T3"/>
              <a:pathLst>
                <a:path w="3094990" h="152400">
                  <a:moveTo>
                    <a:pt x="3094494" y="0"/>
                  </a:moveTo>
                  <a:lnTo>
                    <a:pt x="0" y="0"/>
                  </a:lnTo>
                </a:path>
              </a:pathLst>
            </a:custGeom>
            <a:noFill/>
            <a:ln w="25400">
              <a:solidFill>
                <a:schemeClr val="tx2"/>
              </a:solidFill>
              <a:prstDash val="sys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defTabSz="415721" eaLnBrk="1" hangingPunct="1"/>
              <a:endParaRPr lang="ru-RU" sz="800">
                <a:solidFill>
                  <a:srgbClr val="006600"/>
                </a:solidFill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35" name="object 9"/>
            <p:cNvSpPr txBox="1"/>
            <p:nvPr/>
          </p:nvSpPr>
          <p:spPr>
            <a:xfrm>
              <a:off x="7854321" y="3828748"/>
              <a:ext cx="772694" cy="174818"/>
            </a:xfrm>
            <a:prstGeom prst="rect">
              <a:avLst/>
            </a:prstGeom>
          </p:spPr>
          <p:txBody>
            <a:bodyPr wrap="square" lIns="0" tIns="5487" rIns="0" bIns="0">
              <a:spAutoFit/>
            </a:bodyPr>
            <a:lstStyle/>
            <a:p>
              <a:pPr marL="5774" algn="ctr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1100" b="1" i="1" spc="-5" dirty="0" err="1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жоба</a:t>
              </a:r>
              <a:endParaRPr lang="ru-RU" sz="1100" b="1" i="1" spc="-5" dirty="0">
                <a:solidFill>
                  <a:prstClr val="black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3151" name="object 9"/>
            <p:cNvSpPr txBox="1">
              <a:spLocks noChangeArrowheads="1"/>
            </p:cNvSpPr>
            <p:nvPr/>
          </p:nvSpPr>
          <p:spPr bwMode="auto">
            <a:xfrm>
              <a:off x="7560578" y="4068597"/>
              <a:ext cx="462832" cy="2209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5487" rIns="0" bIns="0">
              <a:spAutoFit/>
            </a:bodyPr>
            <a:lstStyle>
              <a:lvl1pPr marL="127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415721" eaLnBrk="1" hangingPunct="1">
                <a:spcBef>
                  <a:spcPts val="45"/>
                </a:spcBef>
              </a:pPr>
              <a:r>
                <a:rPr lang="ru-RU" b="1" dirty="0" smtClean="0">
                  <a:solidFill>
                    <a:srgbClr val="002060"/>
                  </a:solidFill>
                  <a:ea typeface="+mn-ea"/>
                </a:rPr>
                <a:t>5,7</a:t>
              </a:r>
              <a:endParaRPr lang="ru-RU" b="1" dirty="0">
                <a:solidFill>
                  <a:srgbClr val="002060"/>
                </a:solidFill>
                <a:ea typeface="+mn-ea"/>
              </a:endParaRPr>
            </a:p>
          </p:txBody>
        </p:sp>
        <p:sp>
          <p:nvSpPr>
            <p:cNvPr id="237" name="object 9"/>
            <p:cNvSpPr txBox="1"/>
            <p:nvPr/>
          </p:nvSpPr>
          <p:spPr>
            <a:xfrm>
              <a:off x="7665970" y="4133430"/>
              <a:ext cx="1203652" cy="159429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algn="ctr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1000" b="1" i="1" spc="-5" dirty="0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млрд. </a:t>
              </a:r>
              <a:r>
                <a:rPr lang="ru-RU" sz="1000" b="1" i="1" spc="-5" dirty="0" err="1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теңге</a:t>
              </a:r>
              <a:endParaRPr lang="ru-RU" sz="1000" b="1" i="1" spc="-5" dirty="0">
                <a:solidFill>
                  <a:prstClr val="black"/>
                </a:solidFill>
                <a:latin typeface="Arial"/>
                <a:ea typeface="+mn-ea"/>
                <a:cs typeface="Arial"/>
              </a:endParaRPr>
            </a:p>
          </p:txBody>
        </p:sp>
        <p:cxnSp>
          <p:nvCxnSpPr>
            <p:cNvPr id="238" name="Прямая соединительная линия 237"/>
            <p:cNvCxnSpPr/>
            <p:nvPr/>
          </p:nvCxnSpPr>
          <p:spPr>
            <a:xfrm>
              <a:off x="4814608" y="3888671"/>
              <a:ext cx="0" cy="42309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54" name="object 9"/>
            <p:cNvSpPr txBox="1">
              <a:spLocks noChangeArrowheads="1"/>
            </p:cNvSpPr>
            <p:nvPr/>
          </p:nvSpPr>
          <p:spPr bwMode="auto">
            <a:xfrm>
              <a:off x="7561996" y="3765449"/>
              <a:ext cx="462832" cy="2209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5487" rIns="0" bIns="0">
              <a:spAutoFit/>
            </a:bodyPr>
            <a:lstStyle>
              <a:lvl1pPr marL="127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415721" eaLnBrk="1" hangingPunct="1">
                <a:spcBef>
                  <a:spcPts val="45"/>
                </a:spcBef>
              </a:pPr>
              <a:r>
                <a:rPr lang="ru-RU" b="1" dirty="0" smtClean="0">
                  <a:solidFill>
                    <a:srgbClr val="002060"/>
                  </a:solidFill>
                  <a:ea typeface="+mn-ea"/>
                </a:rPr>
                <a:t>50</a:t>
              </a:r>
              <a:endParaRPr lang="ru-RU" b="1" dirty="0">
                <a:solidFill>
                  <a:srgbClr val="002060"/>
                </a:solidFill>
                <a:ea typeface="+mn-ea"/>
              </a:endParaRPr>
            </a:p>
          </p:txBody>
        </p:sp>
      </p:grpSp>
      <p:cxnSp>
        <p:nvCxnSpPr>
          <p:cNvPr id="84" name="Straight Connector 32"/>
          <p:cNvCxnSpPr/>
          <p:nvPr/>
        </p:nvCxnSpPr>
        <p:spPr>
          <a:xfrm>
            <a:off x="0" y="525838"/>
            <a:ext cx="9144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1" name="Группа 90"/>
          <p:cNvGrpSpPr/>
          <p:nvPr/>
        </p:nvGrpSpPr>
        <p:grpSpPr>
          <a:xfrm>
            <a:off x="4711181" y="2778331"/>
            <a:ext cx="3928658" cy="644739"/>
            <a:chOff x="482328" y="2987623"/>
            <a:chExt cx="3928658" cy="644739"/>
          </a:xfrm>
        </p:grpSpPr>
        <p:sp>
          <p:nvSpPr>
            <p:cNvPr id="92" name="object 35"/>
            <p:cNvSpPr>
              <a:spLocks noChangeArrowheads="1"/>
            </p:cNvSpPr>
            <p:nvPr/>
          </p:nvSpPr>
          <p:spPr bwMode="auto">
            <a:xfrm flipV="1">
              <a:off x="516985" y="3195554"/>
              <a:ext cx="3673774" cy="69312"/>
            </a:xfrm>
            <a:custGeom>
              <a:avLst/>
              <a:gdLst>
                <a:gd name="T0" fmla="*/ 0 w 4923790"/>
                <a:gd name="T1" fmla="*/ 0 h 152400"/>
                <a:gd name="T2" fmla="*/ 4923790 w 4923790"/>
                <a:gd name="T3" fmla="*/ 152400 h 152400"/>
              </a:gdLst>
              <a:ahLst/>
              <a:cxnLst/>
              <a:rect l="T0" t="T1" r="T2" b="T3"/>
              <a:pathLst>
                <a:path w="4923790" h="152400">
                  <a:moveTo>
                    <a:pt x="0" y="0"/>
                  </a:moveTo>
                  <a:lnTo>
                    <a:pt x="4923399" y="0"/>
                  </a:lnTo>
                </a:path>
              </a:pathLst>
            </a:custGeom>
            <a:noFill/>
            <a:ln w="20941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defTabSz="415721" eaLnBrk="1" hangingPunct="1"/>
              <a:endParaRPr lang="ru-RU" sz="500">
                <a:solidFill>
                  <a:prstClr val="black"/>
                </a:solidFill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93" name="object 38"/>
            <p:cNvSpPr txBox="1"/>
            <p:nvPr/>
          </p:nvSpPr>
          <p:spPr>
            <a:xfrm>
              <a:off x="516990" y="3299526"/>
              <a:ext cx="1149631" cy="109007"/>
            </a:xfrm>
            <a:prstGeom prst="rect">
              <a:avLst/>
            </a:prstGeom>
          </p:spPr>
          <p:txBody>
            <a:bodyPr wrap="square" lIns="0" tIns="6353" rIns="0" bIns="0">
              <a:spAutoFit/>
            </a:bodyPr>
            <a:lstStyle/>
            <a:p>
              <a:pPr marL="15012" defTabSz="415721" eaLnBrk="1" fontAlgn="auto" hangingPunct="1">
                <a:lnSpc>
                  <a:spcPts val="816"/>
                </a:lnSpc>
                <a:spcBef>
                  <a:spcPts val="50"/>
                </a:spcBef>
                <a:spcAft>
                  <a:spcPts val="0"/>
                </a:spcAft>
                <a:defRPr/>
              </a:pPr>
              <a:r>
                <a:rPr lang="kk-KZ" sz="700" i="1" spc="-25" dirty="0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оның ішінде</a:t>
              </a:r>
              <a:r>
                <a:rPr sz="700" i="1" spc="-25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.</a:t>
              </a:r>
              <a:endParaRPr sz="700" i="1" dirty="0">
                <a:solidFill>
                  <a:prstClr val="black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94" name="object 39"/>
            <p:cNvSpPr>
              <a:spLocks noChangeArrowheads="1"/>
            </p:cNvSpPr>
            <p:nvPr/>
          </p:nvSpPr>
          <p:spPr bwMode="auto">
            <a:xfrm>
              <a:off x="516985" y="3611424"/>
              <a:ext cx="3673774" cy="20938"/>
            </a:xfrm>
            <a:custGeom>
              <a:avLst/>
              <a:gdLst>
                <a:gd name="T0" fmla="*/ 0 w 4923790"/>
                <a:gd name="T1" fmla="*/ 0 h 45719"/>
                <a:gd name="T2" fmla="*/ 4923790 w 4923790"/>
                <a:gd name="T3" fmla="*/ 45719 h 45719"/>
              </a:gdLst>
              <a:ahLst/>
              <a:cxnLst/>
              <a:rect l="T0" t="T1" r="T2" b="T3"/>
              <a:pathLst>
                <a:path w="4923790" h="45719">
                  <a:moveTo>
                    <a:pt x="0" y="0"/>
                  </a:moveTo>
                  <a:lnTo>
                    <a:pt x="4923399" y="0"/>
                  </a:lnTo>
                </a:path>
              </a:pathLst>
            </a:custGeom>
            <a:noFill/>
            <a:ln w="20941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defTabSz="415721" eaLnBrk="1" hangingPunct="1"/>
              <a:endParaRPr lang="ru-RU" sz="500">
                <a:solidFill>
                  <a:prstClr val="black"/>
                </a:solidFill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96" name="Прямоугольник 95"/>
            <p:cNvSpPr/>
            <p:nvPr/>
          </p:nvSpPr>
          <p:spPr>
            <a:xfrm>
              <a:off x="482330" y="3100254"/>
              <a:ext cx="614542" cy="165083"/>
            </a:xfrm>
            <a:prstGeom prst="rect">
              <a:avLst/>
            </a:prstGeom>
          </p:spPr>
          <p:txBody>
            <a:bodyPr wrap="none" lIns="41568" tIns="20783" rIns="41568" bIns="20783">
              <a:spAutoFit/>
            </a:bodyPr>
            <a:lstStyle/>
            <a:p>
              <a:pPr marL="11547" defTabSz="415721" eaLnBrk="1" fontAlgn="auto" hangingPunct="1">
                <a:spcBef>
                  <a:spcPts val="923"/>
                </a:spcBef>
                <a:spcAft>
                  <a:spcPts val="0"/>
                </a:spcAft>
                <a:defRPr/>
              </a:pPr>
              <a:r>
                <a:rPr lang="ru-RU" sz="800" i="1" spc="5" dirty="0" smtClean="0">
                  <a:solidFill>
                    <a:prstClr val="black"/>
                  </a:solidFill>
                  <a:latin typeface="Arial"/>
                  <a:cs typeface="Arial"/>
                </a:rPr>
                <a:t>БАРЛЫҒЫ</a:t>
              </a:r>
              <a:endParaRPr lang="ru-RU" sz="800" i="1" spc="5" dirty="0">
                <a:solidFill>
                  <a:prstClr val="black"/>
                </a:solidFill>
                <a:latin typeface="Arial"/>
                <a:cs typeface="Arial"/>
              </a:endParaRPr>
            </a:p>
          </p:txBody>
        </p:sp>
        <p:sp>
          <p:nvSpPr>
            <p:cNvPr id="97" name="Прямоугольник 96"/>
            <p:cNvSpPr/>
            <p:nvPr/>
          </p:nvSpPr>
          <p:spPr>
            <a:xfrm>
              <a:off x="482328" y="3438147"/>
              <a:ext cx="1708110" cy="165083"/>
            </a:xfrm>
            <a:prstGeom prst="rect">
              <a:avLst/>
            </a:prstGeom>
          </p:spPr>
          <p:txBody>
            <a:bodyPr wrap="none" lIns="41568" tIns="20783" rIns="41568" bIns="20783">
              <a:spAutoFit/>
            </a:bodyPr>
            <a:lstStyle/>
            <a:p>
              <a:pPr defTabSz="41572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800" i="1" spc="5" dirty="0" smtClean="0">
                  <a:solidFill>
                    <a:prstClr val="black"/>
                  </a:solidFill>
                  <a:latin typeface="Arial"/>
                  <a:cs typeface="Arial"/>
                </a:rPr>
                <a:t>ЖҰМЫСПЕН ҚАМТУ ОРТАЛЫҒЫ</a:t>
              </a:r>
              <a:endParaRPr lang="ru-RU" sz="800" i="1" spc="5" dirty="0">
                <a:solidFill>
                  <a:prstClr val="black"/>
                </a:solidFill>
                <a:latin typeface="Arial"/>
                <a:cs typeface="Arial"/>
              </a:endParaRPr>
            </a:p>
          </p:txBody>
        </p:sp>
        <p:sp>
          <p:nvSpPr>
            <p:cNvPr id="98" name="object 9"/>
            <p:cNvSpPr txBox="1">
              <a:spLocks noChangeArrowheads="1"/>
            </p:cNvSpPr>
            <p:nvPr/>
          </p:nvSpPr>
          <p:spPr bwMode="auto">
            <a:xfrm>
              <a:off x="3809521" y="2987623"/>
              <a:ext cx="601465" cy="2517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5487" rIns="0" bIns="0">
              <a:spAutoFit/>
            </a:bodyPr>
            <a:lstStyle>
              <a:lvl1pPr marL="127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415721" eaLnBrk="1" hangingPunct="1">
                <a:spcBef>
                  <a:spcPts val="45"/>
                </a:spcBef>
              </a:pPr>
              <a:r>
                <a:rPr lang="ru-RU" sz="1600" b="1" dirty="0" smtClean="0">
                  <a:solidFill>
                    <a:srgbClr val="008000"/>
                  </a:solidFill>
                  <a:ea typeface="+mn-ea"/>
                </a:rPr>
                <a:t>934</a:t>
              </a:r>
              <a:endParaRPr lang="ru-RU" sz="1600" b="1" dirty="0">
                <a:solidFill>
                  <a:srgbClr val="008000"/>
                </a:solidFill>
                <a:ea typeface="+mn-ea"/>
              </a:endParaRPr>
            </a:p>
          </p:txBody>
        </p:sp>
        <p:sp>
          <p:nvSpPr>
            <p:cNvPr id="99" name="object 9"/>
            <p:cNvSpPr txBox="1">
              <a:spLocks noChangeArrowheads="1"/>
            </p:cNvSpPr>
            <p:nvPr/>
          </p:nvSpPr>
          <p:spPr bwMode="auto">
            <a:xfrm>
              <a:off x="3809521" y="3353672"/>
              <a:ext cx="601465" cy="2517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5487" rIns="0" bIns="0">
              <a:spAutoFit/>
            </a:bodyPr>
            <a:lstStyle>
              <a:lvl1pPr marL="127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415721" eaLnBrk="1" hangingPunct="1">
                <a:spcBef>
                  <a:spcPts val="45"/>
                </a:spcBef>
              </a:pPr>
              <a:r>
                <a:rPr lang="ru-RU" sz="1600" b="1" dirty="0" smtClean="0">
                  <a:solidFill>
                    <a:srgbClr val="008000"/>
                  </a:solidFill>
                  <a:ea typeface="+mn-ea"/>
                </a:rPr>
                <a:t>467</a:t>
              </a:r>
              <a:endParaRPr lang="ru-RU" sz="1600" b="1" dirty="0">
                <a:solidFill>
                  <a:srgbClr val="008000"/>
                </a:solidFill>
                <a:ea typeface="+mn-ea"/>
              </a:endParaRPr>
            </a:p>
          </p:txBody>
        </p:sp>
      </p:grpSp>
      <p:sp>
        <p:nvSpPr>
          <p:cNvPr id="5" name="TextBox 4"/>
          <p:cNvSpPr txBox="1"/>
          <p:nvPr/>
        </p:nvSpPr>
        <p:spPr>
          <a:xfrm>
            <a:off x="8906273" y="4879571"/>
            <a:ext cx="24878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b="1" dirty="0" smtClean="0"/>
              <a:t>7</a:t>
            </a:r>
            <a:endParaRPr lang="ru-RU" sz="900" b="1" dirty="0"/>
          </a:p>
        </p:txBody>
      </p:sp>
    </p:spTree>
    <p:extLst>
      <p:ext uri="{BB962C8B-B14F-4D97-AF65-F5344CB8AC3E}">
        <p14:creationId xmlns:p14="http://schemas.microsoft.com/office/powerpoint/2010/main" val="2659313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object 3"/>
          <p:cNvSpPr txBox="1"/>
          <p:nvPr/>
        </p:nvSpPr>
        <p:spPr>
          <a:xfrm>
            <a:off x="4260635" y="636728"/>
            <a:ext cx="1610776" cy="628371"/>
          </a:xfrm>
          <a:prstGeom prst="rect">
            <a:avLst/>
          </a:prstGeom>
        </p:spPr>
        <p:txBody>
          <a:bodyPr vert="horz" wrap="square" lIns="0" tIns="12694" rIns="0" bIns="0" rtlCol="0">
            <a:spAutoFit/>
          </a:bodyPr>
          <a:lstStyle/>
          <a:p>
            <a:pPr>
              <a:spcBef>
                <a:spcPts val="100"/>
              </a:spcBef>
            </a:pPr>
            <a:r>
              <a:rPr lang="ru-RU" sz="4000" b="1" spc="-5" dirty="0">
                <a:solidFill>
                  <a:srgbClr val="00B050"/>
                </a:solidFill>
                <a:ea typeface="Tahoma" pitchFamily="34" charset="0"/>
                <a:cs typeface="Arial" pitchFamily="34" charset="0"/>
              </a:rPr>
              <a:t>492</a:t>
            </a:r>
            <a:r>
              <a:rPr lang="ru-RU" sz="1600" b="1" spc="-5" dirty="0">
                <a:solidFill>
                  <a:srgbClr val="00B050"/>
                </a:solidFill>
                <a:ea typeface="Tahoma" pitchFamily="34" charset="0"/>
                <a:cs typeface="Arial" pitchFamily="34" charset="0"/>
              </a:rPr>
              <a:t> </a:t>
            </a:r>
            <a:r>
              <a:rPr lang="kk-KZ" sz="1800" b="1" spc="-10" dirty="0" smtClean="0">
                <a:ea typeface="Tahoma" pitchFamily="34" charset="0"/>
                <a:cs typeface="Arial" pitchFamily="34" charset="0"/>
              </a:rPr>
              <a:t>АЕМ</a:t>
            </a:r>
            <a:endParaRPr lang="ru-RU" sz="1800" b="1" spc="-10" dirty="0">
              <a:ea typeface="Tahoma" pitchFamily="34" charset="0"/>
              <a:cs typeface="Arial" pitchFamily="34" charset="0"/>
            </a:endParaRPr>
          </a:p>
        </p:txBody>
      </p:sp>
      <p:sp>
        <p:nvSpPr>
          <p:cNvPr id="38" name="object 3"/>
          <p:cNvSpPr txBox="1"/>
          <p:nvPr/>
        </p:nvSpPr>
        <p:spPr>
          <a:xfrm>
            <a:off x="808349" y="575173"/>
            <a:ext cx="2049506" cy="628371"/>
          </a:xfrm>
          <a:prstGeom prst="rect">
            <a:avLst/>
          </a:prstGeom>
        </p:spPr>
        <p:txBody>
          <a:bodyPr vert="horz" wrap="square" lIns="0" tIns="12694" rIns="0" bIns="0" rtlCol="0">
            <a:spAutoFit/>
          </a:bodyPr>
          <a:lstStyle/>
          <a:p>
            <a:r>
              <a:rPr lang="ru-RU" sz="4000" b="1" spc="-5" dirty="0">
                <a:solidFill>
                  <a:srgbClr val="00B050"/>
                </a:solidFill>
                <a:ea typeface="Tahoma" pitchFamily="34" charset="0"/>
                <a:cs typeface="Arial" pitchFamily="34" charset="0"/>
              </a:rPr>
              <a:t>100</a:t>
            </a:r>
            <a:r>
              <a:rPr b="1" spc="-5" dirty="0" err="1">
                <a:solidFill>
                  <a:srgbClr val="00B050"/>
                </a:solidFill>
                <a:ea typeface="Tahoma" pitchFamily="34" charset="0"/>
                <a:cs typeface="Arial" pitchFamily="34" charset="0"/>
              </a:rPr>
              <a:t>млрд</a:t>
            </a:r>
            <a:r>
              <a:rPr lang="ru-RU" b="1" spc="-5" dirty="0">
                <a:solidFill>
                  <a:srgbClr val="00B050"/>
                </a:solidFill>
                <a:ea typeface="Tahoma" pitchFamily="34" charset="0"/>
                <a:cs typeface="Arial" pitchFamily="34" charset="0"/>
              </a:rPr>
              <a:t>.</a:t>
            </a:r>
            <a:r>
              <a:rPr lang="en-US" b="1" spc="-5" dirty="0">
                <a:solidFill>
                  <a:srgbClr val="00B050"/>
                </a:solidFill>
                <a:ea typeface="Tahoma" pitchFamily="34" charset="0"/>
                <a:cs typeface="Arial" pitchFamily="34" charset="0"/>
              </a:rPr>
              <a:t> </a:t>
            </a:r>
            <a:r>
              <a:rPr b="1" spc="-20" dirty="0">
                <a:solidFill>
                  <a:srgbClr val="00B050"/>
                </a:solidFill>
                <a:ea typeface="Tahoma" pitchFamily="34" charset="0"/>
                <a:cs typeface="Arial" pitchFamily="34" charset="0"/>
              </a:rPr>
              <a:t>т</a:t>
            </a:r>
            <a:r>
              <a:rPr lang="ru-RU" b="1" spc="-20" dirty="0">
                <a:solidFill>
                  <a:srgbClr val="00B050"/>
                </a:solidFill>
                <a:ea typeface="Tahoma" pitchFamily="34" charset="0"/>
                <a:cs typeface="Arial" pitchFamily="34" charset="0"/>
              </a:rPr>
              <a:t>г</a:t>
            </a:r>
            <a:endParaRPr lang="ru-RU" sz="1200" b="1" spc="-20" dirty="0">
              <a:solidFill>
                <a:srgbClr val="00B050"/>
              </a:solidFill>
              <a:ea typeface="Tahoma" pitchFamily="34" charset="0"/>
              <a:cs typeface="Arial" pitchFamily="34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6481651" y="645188"/>
            <a:ext cx="1495102" cy="661671"/>
          </a:xfrm>
          <a:prstGeom prst="rect">
            <a:avLst/>
          </a:prstGeom>
        </p:spPr>
        <p:txBody>
          <a:bodyPr wrap="square" lIns="91394" tIns="45696" rIns="91394" bIns="45696">
            <a:spAutoFit/>
          </a:bodyPr>
          <a:lstStyle/>
          <a:p>
            <a:r>
              <a:rPr lang="ru-RU" sz="1600" b="1" dirty="0" smtClean="0">
                <a:solidFill>
                  <a:srgbClr val="0070C0"/>
                </a:solidFill>
                <a:ea typeface="Tahoma" panose="020B0604030504040204" pitchFamily="34" charset="0"/>
                <a:cs typeface="Arial" pitchFamily="34" charset="0"/>
              </a:rPr>
              <a:t>282 </a:t>
            </a:r>
            <a:r>
              <a:rPr lang="ru-RU" sz="1200" spc="-20" dirty="0" err="1" smtClean="0">
                <a:solidFill>
                  <a:srgbClr val="003399"/>
                </a:solidFill>
                <a:ea typeface="Tahoma" pitchFamily="34" charset="0"/>
                <a:cs typeface="Arial" pitchFamily="34" charset="0"/>
              </a:rPr>
              <a:t>тірек</a:t>
            </a:r>
            <a:endParaRPr lang="en-US" sz="1200" spc="-20" dirty="0">
              <a:solidFill>
                <a:srgbClr val="003399"/>
              </a:solidFill>
              <a:ea typeface="Tahoma" pitchFamily="34" charset="0"/>
              <a:cs typeface="Arial" pitchFamily="34" charset="0"/>
            </a:endParaRPr>
          </a:p>
          <a:p>
            <a:pPr>
              <a:buFont typeface="Wingdings" pitchFamily="2" charset="2"/>
              <a:buChar char="ü"/>
            </a:pPr>
            <a:endParaRPr lang="ru-RU" sz="300" dirty="0">
              <a:solidFill>
                <a:srgbClr val="002060"/>
              </a:solidFill>
              <a:ea typeface="Tahoma" panose="020B0604030504040204" pitchFamily="34" charset="0"/>
              <a:cs typeface="Arial" pitchFamily="34" charset="0"/>
            </a:endParaRPr>
          </a:p>
          <a:p>
            <a:r>
              <a:rPr lang="ru-RU" sz="1600" b="1" dirty="0">
                <a:solidFill>
                  <a:srgbClr val="0070C0"/>
                </a:solidFill>
                <a:ea typeface="Tahoma" panose="020B0604030504040204" pitchFamily="34" charset="0"/>
                <a:cs typeface="Arial" pitchFamily="34" charset="0"/>
              </a:rPr>
              <a:t>210</a:t>
            </a:r>
            <a:r>
              <a:rPr lang="en-US" b="1" dirty="0" smtClean="0">
                <a:solidFill>
                  <a:srgbClr val="0070C0"/>
                </a:solidFill>
                <a:ea typeface="Tahoma" panose="020B0604030504040204" pitchFamily="34" charset="0"/>
                <a:cs typeface="Arial" pitchFamily="34" charset="0"/>
              </a:rPr>
              <a:t> </a:t>
            </a:r>
            <a:r>
              <a:rPr lang="ru-RU" sz="1200" spc="-20" dirty="0" err="1" smtClean="0">
                <a:solidFill>
                  <a:srgbClr val="003399"/>
                </a:solidFill>
                <a:ea typeface="Tahoma" pitchFamily="34" charset="0"/>
                <a:cs typeface="Arial" pitchFamily="34" charset="0"/>
              </a:rPr>
              <a:t>спутниктік</a:t>
            </a:r>
            <a:r>
              <a:rPr lang="ru-RU" sz="1200" spc="-20" dirty="0" smtClean="0">
                <a:solidFill>
                  <a:srgbClr val="003399"/>
                </a:solidFill>
                <a:ea typeface="Tahoma" pitchFamily="34" charset="0"/>
                <a:cs typeface="Arial" pitchFamily="34" charset="0"/>
              </a:rPr>
              <a:t> </a:t>
            </a:r>
            <a:endParaRPr lang="en-US" sz="1200" spc="-20" dirty="0">
              <a:solidFill>
                <a:srgbClr val="003399"/>
              </a:solidFill>
              <a:ea typeface="Tahoma" pitchFamily="34" charset="0"/>
              <a:cs typeface="Arial" pitchFamily="34" charset="0"/>
            </a:endParaRPr>
          </a:p>
          <a:p>
            <a:pPr>
              <a:buFont typeface="Wingdings" pitchFamily="2" charset="2"/>
              <a:buChar char="ü"/>
            </a:pPr>
            <a:endParaRPr lang="en-US" sz="200" b="1" dirty="0">
              <a:solidFill>
                <a:srgbClr val="002060"/>
              </a:solidFill>
              <a:ea typeface="Tahoma" panose="020B0604030504040204" pitchFamily="34" charset="0"/>
              <a:cs typeface="Arial" pitchFamily="34" charset="0"/>
            </a:endParaRPr>
          </a:p>
        </p:txBody>
      </p:sp>
      <p:sp>
        <p:nvSpPr>
          <p:cNvPr id="18" name="Заголовок 1"/>
          <p:cNvSpPr txBox="1">
            <a:spLocks/>
          </p:cNvSpPr>
          <p:nvPr/>
        </p:nvSpPr>
        <p:spPr>
          <a:xfrm>
            <a:off x="0" y="19878"/>
            <a:ext cx="9144000" cy="456388"/>
          </a:xfrm>
          <a:prstGeom prst="rect">
            <a:avLst/>
          </a:prstGeom>
        </p:spPr>
        <p:txBody>
          <a:bodyPr lIns="91394" tIns="45696" rIns="91394" bIns="45696" anchor="ctr" anchorCtr="0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algn="ctr" defTabSz="913936"/>
            <a:r>
              <a:rPr lang="ru-RU" sz="1900" b="1" u="sng" cap="small" dirty="0" smtClean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2022 ЖЫЛЫ </a:t>
            </a:r>
            <a:r>
              <a:rPr lang="ru-RU" sz="1900" b="1" cap="small" dirty="0" smtClean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«АУЫЛ – ЕЛ БЕСІГІ» ЖОБАСЫН ІСКЕ АСЫРУ ӘСЕРІ </a:t>
            </a:r>
            <a:endParaRPr lang="ru-RU" sz="1900" b="1" u="sng" cap="small" dirty="0">
              <a:solidFill>
                <a:srgbClr val="0070C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E7B52316-E218-484B-AE9C-EF7AF92A8FF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821" y="680913"/>
            <a:ext cx="540000" cy="540000"/>
          </a:xfrm>
          <a:prstGeom prst="rect">
            <a:avLst/>
          </a:prstGeom>
        </p:spPr>
      </p:pic>
      <p:grpSp>
        <p:nvGrpSpPr>
          <p:cNvPr id="26" name="Группа 99">
            <a:extLst>
              <a:ext uri="{FF2B5EF4-FFF2-40B4-BE49-F238E27FC236}">
                <a16:creationId xmlns:a16="http://schemas.microsoft.com/office/drawing/2014/main" id="{F8D3D526-07B4-48F7-9A17-D98B7A7AE6E9}"/>
              </a:ext>
            </a:extLst>
          </p:cNvPr>
          <p:cNvGrpSpPr>
            <a:grpSpLocks/>
          </p:cNvGrpSpPr>
          <p:nvPr/>
        </p:nvGrpSpPr>
        <p:grpSpPr bwMode="auto">
          <a:xfrm rot="10800000" flipH="1">
            <a:off x="2831011" y="681928"/>
            <a:ext cx="351450" cy="537970"/>
            <a:chOff x="5048874" y="1509126"/>
            <a:chExt cx="459230" cy="630576"/>
          </a:xfrm>
        </p:grpSpPr>
        <p:sp>
          <p:nvSpPr>
            <p:cNvPr id="27" name="Chevron2">
              <a:extLst>
                <a:ext uri="{FF2B5EF4-FFF2-40B4-BE49-F238E27FC236}">
                  <a16:creationId xmlns:a16="http://schemas.microsoft.com/office/drawing/2014/main" id="{6D04275C-BFC6-4635-8C97-219EEAFD7E6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47708" y="1548097"/>
              <a:ext cx="243602" cy="552635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65BD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3936">
                <a:defRPr/>
              </a:pPr>
              <a:endParaRPr lang="en-US" sz="1600" dirty="0" err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sp>
          <p:nvSpPr>
            <p:cNvPr id="28" name="Chevron2">
              <a:extLst>
                <a:ext uri="{FF2B5EF4-FFF2-40B4-BE49-F238E27FC236}">
                  <a16:creationId xmlns:a16="http://schemas.microsoft.com/office/drawing/2014/main" id="{0AC80CC5-3E4F-48CD-ADFF-5BCE30BBAC5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27204" y="1509126"/>
              <a:ext cx="278569" cy="630576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A6A6A6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3936">
                <a:defRPr/>
              </a:pPr>
              <a:endParaRPr lang="en-US" sz="1600" dirty="0" err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</p:grp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27CFA81F-2717-46CC-AC10-3B64E61CEF1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6210" y="680913"/>
            <a:ext cx="540000" cy="540000"/>
          </a:xfrm>
          <a:prstGeom prst="rect">
            <a:avLst/>
          </a:prstGeom>
        </p:spPr>
      </p:pic>
      <p:grpSp>
        <p:nvGrpSpPr>
          <p:cNvPr id="30" name="Группа 99">
            <a:extLst>
              <a:ext uri="{FF2B5EF4-FFF2-40B4-BE49-F238E27FC236}">
                <a16:creationId xmlns:a16="http://schemas.microsoft.com/office/drawing/2014/main" id="{FCDA4EAE-75AE-4201-8075-06D418E135AB}"/>
              </a:ext>
            </a:extLst>
          </p:cNvPr>
          <p:cNvGrpSpPr>
            <a:grpSpLocks/>
          </p:cNvGrpSpPr>
          <p:nvPr/>
        </p:nvGrpSpPr>
        <p:grpSpPr bwMode="auto">
          <a:xfrm rot="10800000" flipH="1">
            <a:off x="6085639" y="681929"/>
            <a:ext cx="351450" cy="537970"/>
            <a:chOff x="5048874" y="1509126"/>
            <a:chExt cx="459230" cy="630576"/>
          </a:xfrm>
        </p:grpSpPr>
        <p:sp>
          <p:nvSpPr>
            <p:cNvPr id="31" name="Chevron2">
              <a:extLst>
                <a:ext uri="{FF2B5EF4-FFF2-40B4-BE49-F238E27FC236}">
                  <a16:creationId xmlns:a16="http://schemas.microsoft.com/office/drawing/2014/main" id="{5BD8CE92-497E-4F5F-98E3-FE4484CE7C1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47708" y="1548097"/>
              <a:ext cx="243602" cy="552635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65BD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3936">
                <a:defRPr/>
              </a:pPr>
              <a:endParaRPr lang="en-US" sz="1600" dirty="0" err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sp>
          <p:nvSpPr>
            <p:cNvPr id="32" name="Chevron2">
              <a:extLst>
                <a:ext uri="{FF2B5EF4-FFF2-40B4-BE49-F238E27FC236}">
                  <a16:creationId xmlns:a16="http://schemas.microsoft.com/office/drawing/2014/main" id="{5E55C5FC-BE18-4CA7-89B2-49BF41CE61A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27204" y="1509126"/>
              <a:ext cx="278569" cy="630576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A6A6A6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3936">
                <a:defRPr/>
              </a:pPr>
              <a:endParaRPr lang="en-US" sz="1600" dirty="0" err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</p:grp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9E02E24C-B0D9-4604-8574-5BF831D2B6C8}"/>
              </a:ext>
            </a:extLst>
          </p:cNvPr>
          <p:cNvCxnSpPr>
            <a:cxnSpLocks/>
          </p:cNvCxnSpPr>
          <p:nvPr/>
        </p:nvCxnSpPr>
        <p:spPr>
          <a:xfrm>
            <a:off x="178757" y="1569559"/>
            <a:ext cx="878648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object 10"/>
          <p:cNvSpPr txBox="1"/>
          <p:nvPr/>
        </p:nvSpPr>
        <p:spPr>
          <a:xfrm>
            <a:off x="3184230" y="1623551"/>
            <a:ext cx="2654276" cy="678359"/>
          </a:xfrm>
          <a:prstGeom prst="rect">
            <a:avLst/>
          </a:prstGeom>
        </p:spPr>
        <p:txBody>
          <a:bodyPr vert="horz" wrap="square" lIns="0" tIns="62198" rIns="0" bIns="0" rtlCol="0">
            <a:spAutoFit/>
          </a:bodyPr>
          <a:lstStyle/>
          <a:p>
            <a:pPr algn="ctr">
              <a:spcBef>
                <a:spcPts val="490"/>
              </a:spcBef>
            </a:pPr>
            <a:r>
              <a:rPr lang="ru-RU" sz="4000" b="1" spc="-5" dirty="0" smtClean="0">
                <a:solidFill>
                  <a:srgbClr val="00B050"/>
                </a:solidFill>
                <a:ea typeface="Tahoma" pitchFamily="34" charset="0"/>
                <a:cs typeface="Arial" pitchFamily="34" charset="0"/>
              </a:rPr>
              <a:t>914 </a:t>
            </a:r>
            <a:r>
              <a:rPr lang="ru-RU" b="1" spc="-20" dirty="0" err="1" smtClean="0">
                <a:ea typeface="Tahoma" pitchFamily="34" charset="0"/>
                <a:cs typeface="Arial" pitchFamily="34" charset="0"/>
              </a:rPr>
              <a:t>жобалар</a:t>
            </a:r>
            <a:endParaRPr b="1" spc="-20" dirty="0">
              <a:ea typeface="Tahoma" pitchFamily="34" charset="0"/>
              <a:cs typeface="Arial" pitchFamily="34" charset="0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7FA1A204-213D-47A0-94E2-2A9196E2CCF3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7437" y="1738463"/>
            <a:ext cx="540000" cy="540000"/>
          </a:xfrm>
          <a:prstGeom prst="rect">
            <a:avLst/>
          </a:prstGeom>
        </p:spPr>
      </p:pic>
      <p:sp>
        <p:nvSpPr>
          <p:cNvPr id="35" name="object 11"/>
          <p:cNvSpPr txBox="1"/>
          <p:nvPr/>
        </p:nvSpPr>
        <p:spPr>
          <a:xfrm>
            <a:off x="7102876" y="2634859"/>
            <a:ext cx="1838959" cy="888058"/>
          </a:xfrm>
          <a:prstGeom prst="rect">
            <a:avLst/>
          </a:prstGeom>
        </p:spPr>
        <p:txBody>
          <a:bodyPr vert="horz" wrap="square" lIns="0" tIns="13329" rIns="0" bIns="0" rtlCol="0">
            <a:spAutoFit/>
          </a:bodyPr>
          <a:lstStyle/>
          <a:p>
            <a:pPr marL="635" algn="ctr">
              <a:spcBef>
                <a:spcPts val="105"/>
              </a:spcBef>
            </a:pPr>
            <a:r>
              <a:rPr lang="kk-KZ" sz="2800" b="1" dirty="0">
                <a:solidFill>
                  <a:srgbClr val="00B050"/>
                </a:solidFill>
                <a:cs typeface="Arial" pitchFamily="34" charset="0"/>
              </a:rPr>
              <a:t>506</a:t>
            </a:r>
            <a:endParaRPr lang="en-US" sz="1600" spc="-20" dirty="0">
              <a:solidFill>
                <a:srgbClr val="00B050"/>
              </a:solidFill>
              <a:ea typeface="Tahoma" pitchFamily="34" charset="0"/>
              <a:cs typeface="Arial" pitchFamily="34" charset="0"/>
            </a:endParaRPr>
          </a:p>
          <a:p>
            <a:pPr marL="635" algn="ctr">
              <a:spcBef>
                <a:spcPts val="105"/>
              </a:spcBef>
            </a:pPr>
            <a:r>
              <a:rPr lang="kk-KZ" b="1" spc="-20" dirty="0" smtClean="0">
                <a:ea typeface="Tahoma" pitchFamily="34" charset="0"/>
                <a:cs typeface="Arial" pitchFamily="34" charset="0"/>
              </a:rPr>
              <a:t>көліктік</a:t>
            </a:r>
            <a:endParaRPr b="1" spc="-20" dirty="0">
              <a:ea typeface="Tahoma" pitchFamily="34" charset="0"/>
              <a:cs typeface="Arial" pitchFamily="34" charset="0"/>
            </a:endParaRPr>
          </a:p>
          <a:p>
            <a:pPr algn="ctr">
              <a:spcBef>
                <a:spcPts val="5"/>
              </a:spcBef>
            </a:pPr>
            <a:r>
              <a:rPr b="1" spc="-20" smtClean="0">
                <a:ea typeface="Tahoma" pitchFamily="34" charset="0"/>
                <a:cs typeface="Arial" pitchFamily="34" charset="0"/>
              </a:rPr>
              <a:t>инфра</a:t>
            </a:r>
            <a:r>
              <a:rPr lang="kk-KZ" b="1" spc="-20" dirty="0" smtClean="0">
                <a:ea typeface="Tahoma" pitchFamily="34" charset="0"/>
                <a:cs typeface="Arial" pitchFamily="34" charset="0"/>
              </a:rPr>
              <a:t>құрылым</a:t>
            </a:r>
            <a:endParaRPr b="1" spc="-20" dirty="0">
              <a:ea typeface="Tahoma" pitchFamily="34" charset="0"/>
              <a:cs typeface="Arial" pitchFamily="34" charset="0"/>
            </a:endParaRP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5A8EDC4D-7B2C-4851-A9B7-599A640807AE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5135" y="2681158"/>
            <a:ext cx="360000" cy="360000"/>
          </a:xfrm>
          <a:prstGeom prst="rect">
            <a:avLst/>
          </a:prstGeom>
        </p:spPr>
      </p:pic>
      <p:sp>
        <p:nvSpPr>
          <p:cNvPr id="37" name="object 13"/>
          <p:cNvSpPr txBox="1"/>
          <p:nvPr/>
        </p:nvSpPr>
        <p:spPr>
          <a:xfrm>
            <a:off x="649526" y="2634858"/>
            <a:ext cx="1274259" cy="823296"/>
          </a:xfrm>
          <a:prstGeom prst="rect">
            <a:avLst/>
          </a:prstGeom>
        </p:spPr>
        <p:txBody>
          <a:bodyPr vert="horz" wrap="square" lIns="0" tIns="12694" rIns="0" bIns="0" rtlCol="0">
            <a:spAutoFit/>
          </a:bodyPr>
          <a:lstStyle/>
          <a:p>
            <a:pPr marL="12694" algn="ctr">
              <a:spcBef>
                <a:spcPts val="100"/>
              </a:spcBef>
            </a:pPr>
            <a:r>
              <a:rPr lang="kk-KZ" sz="2800" b="1" spc="-5" dirty="0">
                <a:solidFill>
                  <a:srgbClr val="00B050"/>
                </a:solidFill>
                <a:ea typeface="Tahoma" pitchFamily="34" charset="0"/>
                <a:cs typeface="Arial" pitchFamily="34" charset="0"/>
              </a:rPr>
              <a:t>95</a:t>
            </a:r>
            <a:endParaRPr lang="en-US" sz="2000" dirty="0">
              <a:solidFill>
                <a:srgbClr val="00B050"/>
              </a:solidFill>
              <a:ea typeface="Tahoma" pitchFamily="34" charset="0"/>
              <a:cs typeface="Arial" pitchFamily="34" charset="0"/>
            </a:endParaRPr>
          </a:p>
          <a:p>
            <a:pPr marL="12694" algn="ctr">
              <a:spcBef>
                <a:spcPts val="100"/>
              </a:spcBef>
            </a:pPr>
            <a:endParaRPr lang="ru-RU" sz="700" b="1" spc="-20" dirty="0">
              <a:ea typeface="Tahoma" pitchFamily="34" charset="0"/>
              <a:cs typeface="Arial" pitchFamily="34" charset="0"/>
            </a:endParaRPr>
          </a:p>
          <a:p>
            <a:pPr marL="12694" algn="ctr">
              <a:spcBef>
                <a:spcPts val="100"/>
              </a:spcBef>
            </a:pPr>
            <a:r>
              <a:rPr lang="ru-RU" sz="1600" b="1" spc="-20" dirty="0" smtClean="0">
                <a:ea typeface="Tahoma" pitchFamily="34" charset="0"/>
                <a:cs typeface="Arial" pitchFamily="34" charset="0"/>
              </a:rPr>
              <a:t>ТКШ</a:t>
            </a:r>
            <a:endParaRPr lang="ru-RU" sz="1600" b="1" spc="-20" dirty="0">
              <a:ea typeface="Tahoma" pitchFamily="34" charset="0"/>
              <a:cs typeface="Arial" pitchFamily="34" charset="0"/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351A3ECF-30FA-4A5D-9346-EEDE15CA452A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068" y="2681158"/>
            <a:ext cx="360000" cy="360000"/>
          </a:xfrm>
          <a:prstGeom prst="rect">
            <a:avLst/>
          </a:prstGeom>
        </p:spPr>
      </p:pic>
      <p:sp>
        <p:nvSpPr>
          <p:cNvPr id="36" name="object 12"/>
          <p:cNvSpPr txBox="1"/>
          <p:nvPr/>
        </p:nvSpPr>
        <p:spPr>
          <a:xfrm>
            <a:off x="2806339" y="2634859"/>
            <a:ext cx="3410058" cy="888058"/>
          </a:xfrm>
          <a:prstGeom prst="rect">
            <a:avLst/>
          </a:prstGeom>
        </p:spPr>
        <p:txBody>
          <a:bodyPr vert="horz" wrap="square" lIns="0" tIns="13329" rIns="0" bIns="0" rtlCol="0">
            <a:spAutoFit/>
          </a:bodyPr>
          <a:lstStyle/>
          <a:p>
            <a:pPr marR="35542" algn="ctr">
              <a:spcBef>
                <a:spcPts val="105"/>
              </a:spcBef>
            </a:pPr>
            <a:r>
              <a:rPr lang="ru-RU" sz="2800" b="1" spc="-5" dirty="0" smtClean="0">
                <a:solidFill>
                  <a:srgbClr val="00B050"/>
                </a:solidFill>
                <a:cs typeface="Arial" pitchFamily="34" charset="0"/>
              </a:rPr>
              <a:t>313</a:t>
            </a:r>
            <a:endParaRPr lang="kk-KZ" sz="1600" b="1" spc="-20" dirty="0" smtClean="0">
              <a:solidFill>
                <a:srgbClr val="00B050"/>
              </a:solidFill>
              <a:ea typeface="Tahoma" pitchFamily="34" charset="0"/>
              <a:cs typeface="Arial" pitchFamily="34" charset="0"/>
            </a:endParaRPr>
          </a:p>
          <a:p>
            <a:pPr marR="35542" algn="ctr">
              <a:spcBef>
                <a:spcPts val="105"/>
              </a:spcBef>
            </a:pPr>
            <a:r>
              <a:rPr lang="ru-RU" b="1" spc="-20" dirty="0" err="1" smtClean="0">
                <a:ea typeface="Tahoma" pitchFamily="34" charset="0"/>
                <a:cs typeface="Arial" pitchFamily="34" charset="0"/>
              </a:rPr>
              <a:t>әлеуметтік</a:t>
            </a:r>
            <a:r>
              <a:rPr lang="ru-RU" b="1" spc="-20" dirty="0">
                <a:ea typeface="Tahoma" pitchFamily="34" charset="0"/>
                <a:cs typeface="Arial" pitchFamily="34" charset="0"/>
              </a:rPr>
              <a:t/>
            </a:r>
            <a:br>
              <a:rPr lang="ru-RU" b="1" spc="-20" dirty="0">
                <a:ea typeface="Tahoma" pitchFamily="34" charset="0"/>
                <a:cs typeface="Arial" pitchFamily="34" charset="0"/>
              </a:rPr>
            </a:br>
            <a:r>
              <a:rPr b="1" spc="-20" smtClean="0">
                <a:ea typeface="Tahoma" pitchFamily="34" charset="0"/>
                <a:cs typeface="Arial" pitchFamily="34" charset="0"/>
              </a:rPr>
              <a:t>инфра</a:t>
            </a:r>
            <a:r>
              <a:rPr lang="kk-KZ" b="1" spc="-20" dirty="0" smtClean="0">
                <a:ea typeface="Tahoma" pitchFamily="34" charset="0"/>
                <a:cs typeface="Arial" pitchFamily="34" charset="0"/>
              </a:rPr>
              <a:t>құрылым</a:t>
            </a:r>
            <a:endParaRPr b="1" spc="-20" dirty="0">
              <a:ea typeface="Tahoma" pitchFamily="34" charset="0"/>
              <a:cs typeface="Arial" pitchFamily="34" charset="0"/>
            </a:endParaRPr>
          </a:p>
        </p:txBody>
      </p:sp>
      <p:pic>
        <p:nvPicPr>
          <p:cNvPr id="46" name="Рисунок 45">
            <a:extLst>
              <a:ext uri="{FF2B5EF4-FFF2-40B4-BE49-F238E27FC236}">
                <a16:creationId xmlns:a16="http://schemas.microsoft.com/office/drawing/2014/main" id="{8ABE6C5F-2FD0-46F7-8CB3-AF55DCF1C204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6482" y="2681158"/>
            <a:ext cx="360000" cy="360000"/>
          </a:xfrm>
          <a:prstGeom prst="rect">
            <a:avLst/>
          </a:prstGeom>
        </p:spPr>
      </p:pic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3CBF0F42-62CB-4C90-B0F6-24EB54455C47}"/>
              </a:ext>
            </a:extLst>
          </p:cNvPr>
          <p:cNvSpPr/>
          <p:nvPr/>
        </p:nvSpPr>
        <p:spPr>
          <a:xfrm>
            <a:off x="7051266" y="3882042"/>
            <a:ext cx="1959735" cy="523172"/>
          </a:xfrm>
          <a:prstGeom prst="rect">
            <a:avLst/>
          </a:prstGeom>
        </p:spPr>
        <p:txBody>
          <a:bodyPr wrap="square" lIns="91392" tIns="45696" rIns="91392" bIns="45696">
            <a:spAutoFit/>
          </a:bodyPr>
          <a:lstStyle/>
          <a:p>
            <a:pPr algn="ctr" fontAlgn="ctr"/>
            <a:r>
              <a:rPr lang="ru-RU" b="1" spc="-5" dirty="0" err="1" smtClean="0">
                <a:solidFill>
                  <a:srgbClr val="00B050"/>
                </a:solidFill>
                <a:ea typeface="Tahoma" pitchFamily="34" charset="0"/>
                <a:cs typeface="Arial" pitchFamily="34" charset="0"/>
              </a:rPr>
              <a:t>кентішілік</a:t>
            </a:r>
            <a:r>
              <a:rPr lang="ru-RU" b="1" spc="-5" dirty="0" smtClean="0">
                <a:solidFill>
                  <a:srgbClr val="00B050"/>
                </a:solidFill>
                <a:ea typeface="Tahoma" pitchFamily="34" charset="0"/>
                <a:cs typeface="Arial" pitchFamily="34" charset="0"/>
              </a:rPr>
              <a:t> </a:t>
            </a:r>
            <a:r>
              <a:rPr lang="ru-RU" b="1" spc="-5" dirty="0" err="1" smtClean="0">
                <a:solidFill>
                  <a:srgbClr val="00B050"/>
                </a:solidFill>
                <a:ea typeface="Tahoma" pitchFamily="34" charset="0"/>
                <a:cs typeface="Arial" pitchFamily="34" charset="0"/>
              </a:rPr>
              <a:t>жолдар</a:t>
            </a:r>
            <a:r>
              <a:rPr lang="ru-RU" b="1" spc="-5" dirty="0" smtClean="0">
                <a:solidFill>
                  <a:srgbClr val="00B050"/>
                </a:solidFill>
                <a:ea typeface="Tahoma" pitchFamily="34" charset="0"/>
                <a:cs typeface="Arial" pitchFamily="34" charset="0"/>
              </a:rPr>
              <a:t> </a:t>
            </a:r>
            <a:r>
              <a:rPr lang="ru-RU" b="1" spc="-5" dirty="0">
                <a:solidFill>
                  <a:srgbClr val="00B050"/>
                </a:solidFill>
                <a:ea typeface="Tahoma" pitchFamily="34" charset="0"/>
                <a:cs typeface="Arial" pitchFamily="34" charset="0"/>
              </a:rPr>
              <a:t/>
            </a:r>
            <a:br>
              <a:rPr lang="ru-RU" b="1" spc="-5" dirty="0">
                <a:solidFill>
                  <a:srgbClr val="00B050"/>
                </a:solidFill>
                <a:ea typeface="Tahoma" pitchFamily="34" charset="0"/>
                <a:cs typeface="Arial" pitchFamily="34" charset="0"/>
              </a:rPr>
            </a:br>
            <a:endParaRPr lang="ru-RU" b="1" spc="-5" dirty="0">
              <a:solidFill>
                <a:srgbClr val="00B050"/>
              </a:solidFill>
              <a:ea typeface="Tahoma" pitchFamily="34" charset="0"/>
              <a:cs typeface="Arial" pitchFamily="34" charset="0"/>
            </a:endParaRPr>
          </a:p>
        </p:txBody>
      </p:sp>
      <p:sp>
        <p:nvSpPr>
          <p:cNvPr id="57" name="Прямоугольник 56">
            <a:extLst>
              <a:ext uri="{FF2B5EF4-FFF2-40B4-BE49-F238E27FC236}">
                <a16:creationId xmlns:a16="http://schemas.microsoft.com/office/drawing/2014/main" id="{CE298C5B-5218-4642-994E-8DB612FA561E}"/>
              </a:ext>
            </a:extLst>
          </p:cNvPr>
          <p:cNvSpPr/>
          <p:nvPr/>
        </p:nvSpPr>
        <p:spPr>
          <a:xfrm>
            <a:off x="315938" y="3817356"/>
            <a:ext cx="1941428" cy="1031003"/>
          </a:xfrm>
          <a:prstGeom prst="rect">
            <a:avLst/>
          </a:prstGeom>
        </p:spPr>
        <p:txBody>
          <a:bodyPr wrap="square" lIns="91392" tIns="45696" rIns="91392" bIns="45696">
            <a:spAutoFit/>
          </a:bodyPr>
          <a:lstStyle/>
          <a:p>
            <a:pPr algn="ctr" fontAlgn="ctr"/>
            <a:r>
              <a:rPr lang="ru-RU" b="1" spc="-5" dirty="0" err="1" smtClean="0">
                <a:solidFill>
                  <a:srgbClr val="00B050"/>
                </a:solidFill>
                <a:ea typeface="Tahoma" pitchFamily="34" charset="0"/>
                <a:cs typeface="Arial" pitchFamily="34" charset="0"/>
              </a:rPr>
              <a:t>Инженерлік</a:t>
            </a:r>
            <a:r>
              <a:rPr lang="ru-RU" b="1" spc="-5" dirty="0" smtClean="0">
                <a:solidFill>
                  <a:srgbClr val="00B050"/>
                </a:solidFill>
                <a:ea typeface="Tahoma" pitchFamily="34" charset="0"/>
                <a:cs typeface="Arial" pitchFamily="34" charset="0"/>
              </a:rPr>
              <a:t> </a:t>
            </a:r>
            <a:r>
              <a:rPr lang="ru-RU" b="1" spc="-5" dirty="0" err="1" smtClean="0">
                <a:solidFill>
                  <a:srgbClr val="00B050"/>
                </a:solidFill>
                <a:ea typeface="Tahoma" pitchFamily="34" charset="0"/>
                <a:cs typeface="Arial" pitchFamily="34" charset="0"/>
              </a:rPr>
              <a:t>жүйелер </a:t>
            </a:r>
            <a:r>
              <a:rPr lang="ru-RU" sz="2000" b="1" dirty="0" err="1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ru-RU" sz="2000" b="1" dirty="0" err="1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altLang="en-US" sz="1100" i="1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(газ-, су-, </a:t>
            </a:r>
            <a:r>
              <a:rPr lang="ru-RU" altLang="en-US" sz="1100" i="1" dirty="0" err="1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электр</a:t>
            </a:r>
            <a:r>
              <a:rPr lang="ru-RU" altLang="en-US" sz="1100" i="1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-, </a:t>
            </a:r>
            <a:br>
              <a:rPr lang="ru-RU" altLang="en-US" sz="1100" i="1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</a:br>
            <a:r>
              <a:rPr lang="ru-RU" altLang="en-US" sz="1100" i="1" dirty="0" err="1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жылумен</a:t>
            </a:r>
            <a:r>
              <a:rPr lang="ru-RU" altLang="en-US" sz="1100" i="1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altLang="en-US" sz="1100" i="1" dirty="0" err="1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қамту</a:t>
            </a:r>
            <a:r>
              <a:rPr lang="ru-RU" altLang="en-US" sz="1100" i="1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)</a:t>
            </a:r>
          </a:p>
          <a:p>
            <a:pPr algn="ctr" fontAlgn="ctr"/>
            <a:endParaRPr lang="ru-RU" sz="1100" i="1" dirty="0">
              <a:solidFill>
                <a:srgbClr val="00206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13300179-1714-4040-9B27-3EEA2578C1FC}"/>
              </a:ext>
            </a:extLst>
          </p:cNvPr>
          <p:cNvSpPr/>
          <p:nvPr/>
        </p:nvSpPr>
        <p:spPr>
          <a:xfrm>
            <a:off x="2797890" y="3724103"/>
            <a:ext cx="4320000" cy="369330"/>
          </a:xfrm>
          <a:prstGeom prst="rect">
            <a:avLst/>
          </a:prstGeom>
        </p:spPr>
        <p:txBody>
          <a:bodyPr wrap="square" lIns="91392" tIns="45696" rIns="91392" bIns="45696">
            <a:spAutoFit/>
          </a:bodyPr>
          <a:lstStyle/>
          <a:p>
            <a:pPr fontAlgn="ctr"/>
            <a:r>
              <a:rPr lang="ru-RU" b="1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123</a:t>
            </a:r>
            <a:r>
              <a:rPr lang="ru-RU" sz="1800" b="1" dirty="0">
                <a:solidFill>
                  <a:srgbClr val="00B05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білім</a:t>
            </a:r>
            <a:r>
              <a:rPr lang="ru-RU" sz="1200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i="1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ru-RU" sz="1000" i="1" dirty="0" err="1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балабақшалар</a:t>
            </a:r>
            <a:r>
              <a:rPr lang="ru-RU" sz="1000" i="1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000" i="1" dirty="0" err="1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мектептер</a:t>
            </a:r>
            <a:r>
              <a:rPr lang="ru-RU" sz="1000" i="1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) </a:t>
            </a:r>
            <a:endParaRPr lang="ru-RU" sz="1000" i="1" dirty="0">
              <a:solidFill>
                <a:srgbClr val="00206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A1276E31-EA10-4D00-AE54-95AB341E0F15}"/>
              </a:ext>
            </a:extLst>
          </p:cNvPr>
          <p:cNvSpPr/>
          <p:nvPr/>
        </p:nvSpPr>
        <p:spPr>
          <a:xfrm>
            <a:off x="2797889" y="4382442"/>
            <a:ext cx="4910343" cy="369283"/>
          </a:xfrm>
          <a:prstGeom prst="rect">
            <a:avLst/>
          </a:prstGeom>
        </p:spPr>
        <p:txBody>
          <a:bodyPr wrap="square" lIns="91392" tIns="45696" rIns="91392" bIns="45696">
            <a:spAutoFit/>
          </a:bodyPr>
          <a:lstStyle/>
          <a:p>
            <a:pPr fontAlgn="ctr"/>
            <a:r>
              <a:rPr lang="ru-RU" b="1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62</a:t>
            </a:r>
            <a:r>
              <a:rPr lang="ru-RU" sz="1800" b="1" dirty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мәдениет саласында</a:t>
            </a:r>
            <a:r>
              <a:rPr lang="ru-RU" sz="1000" i="1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ru-RU" sz="1000" i="1" dirty="0" err="1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клубтар</a:t>
            </a:r>
            <a:r>
              <a:rPr lang="ru-RU" sz="1000" i="1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,  </a:t>
            </a:r>
            <a:r>
              <a:rPr lang="ru-RU" sz="1000" i="1" dirty="0" err="1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мәдениет үйлері</a:t>
            </a:r>
            <a:r>
              <a:rPr lang="ru-RU" sz="1000" i="1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,  </a:t>
            </a:r>
            <a:r>
              <a:rPr lang="ru-RU" sz="1000" i="1" dirty="0" err="1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кітапханалар</a:t>
            </a:r>
            <a:r>
              <a:rPr lang="ru-RU" sz="1000" i="1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  <a:endParaRPr lang="ru-RU" sz="1000" i="1" dirty="0">
              <a:solidFill>
                <a:srgbClr val="00206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id="{CE4BB544-B9C0-48C7-B7BD-ABCDE360D4A3}"/>
              </a:ext>
            </a:extLst>
          </p:cNvPr>
          <p:cNvSpPr/>
          <p:nvPr/>
        </p:nvSpPr>
        <p:spPr>
          <a:xfrm>
            <a:off x="2797890" y="4626973"/>
            <a:ext cx="4320000" cy="523196"/>
          </a:xfrm>
          <a:prstGeom prst="rect">
            <a:avLst/>
          </a:prstGeom>
        </p:spPr>
        <p:txBody>
          <a:bodyPr wrap="square" lIns="91392" tIns="45696" rIns="91392" bIns="45696">
            <a:spAutoFit/>
          </a:bodyPr>
          <a:lstStyle/>
          <a:p>
            <a:pPr fontAlgn="ctr"/>
            <a:r>
              <a:rPr lang="ru-RU" b="1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77</a:t>
            </a:r>
            <a:r>
              <a:rPr lang="ru-RU" sz="1800" b="1" dirty="0" smtClean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спорт </a:t>
            </a:r>
            <a:r>
              <a:rPr lang="ru-RU" sz="1200" dirty="0" err="1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саласында</a:t>
            </a:r>
            <a:r>
              <a:rPr lang="ru-RU" sz="1200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i="1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ru-RU" sz="1000" i="1" dirty="0" err="1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дене</a:t>
            </a:r>
            <a:r>
              <a:rPr lang="ru-RU" sz="1000" i="1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i="1" dirty="0" err="1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шынықтыру-сауықтыру  кешендері</a:t>
            </a:r>
            <a:r>
              <a:rPr lang="ru-RU" sz="1000" i="1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000" i="1" dirty="0" err="1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спортзалдар</a:t>
            </a:r>
            <a:r>
              <a:rPr lang="ru-RU" sz="1000" i="1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) </a:t>
            </a:r>
            <a:endParaRPr lang="ru-RU" sz="1000" i="1" dirty="0">
              <a:solidFill>
                <a:srgbClr val="00206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id="{5C62CEFA-329F-4EF8-93BA-2F8F6F1DB680}"/>
              </a:ext>
            </a:extLst>
          </p:cNvPr>
          <p:cNvSpPr/>
          <p:nvPr/>
        </p:nvSpPr>
        <p:spPr>
          <a:xfrm>
            <a:off x="2797890" y="3968637"/>
            <a:ext cx="4320000" cy="523172"/>
          </a:xfrm>
          <a:prstGeom prst="rect">
            <a:avLst/>
          </a:prstGeom>
        </p:spPr>
        <p:txBody>
          <a:bodyPr wrap="square" lIns="91392" tIns="45696" rIns="91392" bIns="45696">
            <a:spAutoFit/>
          </a:bodyPr>
          <a:lstStyle/>
          <a:p>
            <a:pPr fontAlgn="ctr"/>
            <a:r>
              <a:rPr lang="ru-RU" b="1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51</a:t>
            </a:r>
            <a:r>
              <a:rPr lang="ru-RU" sz="1800" b="1" dirty="0">
                <a:solidFill>
                  <a:srgbClr val="00B05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денсаулық сақтау </a:t>
            </a:r>
            <a:r>
              <a:rPr lang="ru-RU" sz="1000" i="1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ru-RU" sz="1000" i="1" dirty="0" err="1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фельдшерлік</a:t>
            </a:r>
            <a:r>
              <a:rPr lang="ru-RU" sz="1000" i="1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i="1" dirty="0" err="1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пункттер</a:t>
            </a:r>
            <a:r>
              <a:rPr lang="ru-RU" sz="1000" i="1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000" i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ru-RU" sz="1000" i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000" i="1" dirty="0" err="1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амбулаториялар</a:t>
            </a:r>
            <a:r>
              <a:rPr lang="ru-RU" sz="1000" i="1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000" i="1" dirty="0" err="1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емханалар</a:t>
            </a:r>
            <a:r>
              <a:rPr lang="ru-RU" sz="1000" i="1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  <a:endParaRPr lang="ru-RU" sz="1000" i="1" dirty="0">
              <a:solidFill>
                <a:srgbClr val="00206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74" name="Group 97">
            <a:extLst>
              <a:ext uri="{FF2B5EF4-FFF2-40B4-BE49-F238E27FC236}">
                <a16:creationId xmlns:a16="http://schemas.microsoft.com/office/drawing/2014/main" id="{7F2E58A0-E480-4724-8095-4A390CD95507}"/>
              </a:ext>
            </a:extLst>
          </p:cNvPr>
          <p:cNvGrpSpPr/>
          <p:nvPr>
            <p:custDataLst>
              <p:tags r:id="rId1"/>
            </p:custDataLst>
          </p:nvPr>
        </p:nvGrpSpPr>
        <p:grpSpPr bwMode="gray">
          <a:xfrm rot="5400000">
            <a:off x="1209779" y="3341759"/>
            <a:ext cx="153753" cy="736230"/>
            <a:chOff x="6801474" y="1968366"/>
            <a:chExt cx="245504" cy="802802"/>
          </a:xfrm>
        </p:grpSpPr>
        <p:sp>
          <p:nvSpPr>
            <p:cNvPr id="75" name="Rectangle 98">
              <a:extLst>
                <a:ext uri="{FF2B5EF4-FFF2-40B4-BE49-F238E27FC236}">
                  <a16:creationId xmlns:a16="http://schemas.microsoft.com/office/drawing/2014/main" id="{C45C3890-C41C-48A5-9963-13A9E6CEE2E6}"/>
                </a:ext>
              </a:extLst>
            </p:cNvPr>
            <p:cNvSpPr/>
            <p:nvPr/>
          </p:nvSpPr>
          <p:spPr bwMode="gray">
            <a:xfrm>
              <a:off x="6846057" y="1968366"/>
              <a:ext cx="156341" cy="80280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8550"/>
              <a:endParaRPr lang="en-GB" sz="1200" dirty="0" err="1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  <p:grpSp>
          <p:nvGrpSpPr>
            <p:cNvPr id="76" name="Group 99">
              <a:extLst>
                <a:ext uri="{FF2B5EF4-FFF2-40B4-BE49-F238E27FC236}">
                  <a16:creationId xmlns:a16="http://schemas.microsoft.com/office/drawing/2014/main" id="{76CF6128-62F0-48DF-A491-31BC0F8114F9}"/>
                </a:ext>
              </a:extLst>
            </p:cNvPr>
            <p:cNvGrpSpPr/>
            <p:nvPr/>
          </p:nvGrpSpPr>
          <p:grpSpPr bwMode="gray">
            <a:xfrm>
              <a:off x="6801474" y="2095154"/>
              <a:ext cx="245504" cy="549228"/>
              <a:chOff x="6191200" y="3238500"/>
              <a:chExt cx="681225" cy="1524000"/>
            </a:xfrm>
          </p:grpSpPr>
          <p:sp>
            <p:nvSpPr>
              <p:cNvPr id="77" name="Chevron1">
                <a:extLst>
                  <a:ext uri="{FF2B5EF4-FFF2-40B4-BE49-F238E27FC236}">
                    <a16:creationId xmlns:a16="http://schemas.microsoft.com/office/drawing/2014/main" id="{7E3FAC59-6419-4E20-8BDB-F89048052E9D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191200" y="3238500"/>
                <a:ext cx="438150" cy="1524000"/>
              </a:xfrm>
              <a:custGeom>
                <a:avLst/>
                <a:gdLst>
                  <a:gd name="connsiteX0" fmla="*/ 1460500 w 2222501"/>
                  <a:gd name="connsiteY0" fmla="*/ 2540000 h 5080001"/>
                  <a:gd name="connsiteX1" fmla="*/ 0 w 2222501"/>
                  <a:gd name="connsiteY1" fmla="*/ 0 h 5080001"/>
                  <a:gd name="connsiteX2" fmla="*/ 762000 w 2222501"/>
                  <a:gd name="connsiteY2" fmla="*/ 0 h 5080001"/>
                  <a:gd name="connsiteX3" fmla="*/ 2222500 w 2222501"/>
                  <a:gd name="connsiteY3" fmla="*/ 2540000 h 5080001"/>
                  <a:gd name="connsiteX4" fmla="*/ 762000 w 2222501"/>
                  <a:gd name="connsiteY4" fmla="*/ 5080000 h 5080001"/>
                  <a:gd name="connsiteX5" fmla="*/ 0 w 2222501"/>
                  <a:gd name="connsiteY5" fmla="*/ 5080000 h 5080001"/>
                  <a:gd name="connsiteX6" fmla="*/ 1765300 w 2222501"/>
                  <a:gd name="connsiteY6" fmla="*/ 2844800 h 5080001"/>
                  <a:gd name="connsiteX0" fmla="*/ 1460500 w 2222501"/>
                  <a:gd name="connsiteY0" fmla="*/ 2540000 h 5080001"/>
                  <a:gd name="connsiteX1" fmla="*/ 0 w 2222501"/>
                  <a:gd name="connsiteY1" fmla="*/ 0 h 5080001"/>
                  <a:gd name="connsiteX2" fmla="*/ 762000 w 2222501"/>
                  <a:gd name="connsiteY2" fmla="*/ 0 h 5080001"/>
                  <a:gd name="connsiteX3" fmla="*/ 2222500 w 2222501"/>
                  <a:gd name="connsiteY3" fmla="*/ 2540000 h 5080001"/>
                  <a:gd name="connsiteX4" fmla="*/ 762000 w 2222501"/>
                  <a:gd name="connsiteY4" fmla="*/ 5080000 h 5080001"/>
                  <a:gd name="connsiteX5" fmla="*/ 0 w 2222501"/>
                  <a:gd name="connsiteY5" fmla="*/ 5080000 h 5080001"/>
                  <a:gd name="connsiteX0" fmla="*/ 0 w 2222501"/>
                  <a:gd name="connsiteY0" fmla="*/ 0 h 5080001"/>
                  <a:gd name="connsiteX1" fmla="*/ 762000 w 2222501"/>
                  <a:gd name="connsiteY1" fmla="*/ 0 h 5080001"/>
                  <a:gd name="connsiteX2" fmla="*/ 2222500 w 2222501"/>
                  <a:gd name="connsiteY2" fmla="*/ 2540000 h 5080001"/>
                  <a:gd name="connsiteX3" fmla="*/ 762000 w 2222501"/>
                  <a:gd name="connsiteY3" fmla="*/ 5080000 h 5080001"/>
                  <a:gd name="connsiteX4" fmla="*/ 0 w 2222501"/>
                  <a:gd name="connsiteY4" fmla="*/ 5080000 h 5080001"/>
                  <a:gd name="connsiteX0" fmla="*/ 762000 w 2222501"/>
                  <a:gd name="connsiteY0" fmla="*/ 0 h 5080001"/>
                  <a:gd name="connsiteX1" fmla="*/ 2222500 w 2222501"/>
                  <a:gd name="connsiteY1" fmla="*/ 2540000 h 5080001"/>
                  <a:gd name="connsiteX2" fmla="*/ 762000 w 2222501"/>
                  <a:gd name="connsiteY2" fmla="*/ 5080000 h 5080001"/>
                  <a:gd name="connsiteX3" fmla="*/ 0 w 2222501"/>
                  <a:gd name="connsiteY3" fmla="*/ 5080000 h 5080001"/>
                  <a:gd name="connsiteX0" fmla="*/ 0 w 1460501"/>
                  <a:gd name="connsiteY0" fmla="*/ 0 h 5080001"/>
                  <a:gd name="connsiteX1" fmla="*/ 1460500 w 1460501"/>
                  <a:gd name="connsiteY1" fmla="*/ 2540000 h 5080001"/>
                  <a:gd name="connsiteX2" fmla="*/ 0 w 1460501"/>
                  <a:gd name="connsiteY2" fmla="*/ 5080000 h 5080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60501" h="5080001">
                    <a:moveTo>
                      <a:pt x="0" y="0"/>
                    </a:moveTo>
                    <a:lnTo>
                      <a:pt x="1460500" y="2540000"/>
                    </a:lnTo>
                    <a:lnTo>
                      <a:pt x="0" y="5080000"/>
                    </a:lnTo>
                  </a:path>
                </a:pathLst>
              </a:custGeom>
              <a:noFill/>
              <a:ln w="9525" cap="rnd">
                <a:solidFill>
                  <a:schemeClr val="accent3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550"/>
                <a:endParaRPr lang="en-GB" sz="1200" dirty="0" err="1">
                  <a:solidFill>
                    <a:srgbClr val="000000"/>
                  </a:solidFill>
                  <a:latin typeface="Segoe UI Light"/>
                  <a:ea typeface="ＭＳ Ｐゴシック"/>
                </a:endParaRPr>
              </a:p>
            </p:txBody>
          </p:sp>
          <p:sp>
            <p:nvSpPr>
              <p:cNvPr id="78" name="Chevron1">
                <a:extLst>
                  <a:ext uri="{FF2B5EF4-FFF2-40B4-BE49-F238E27FC236}">
                    <a16:creationId xmlns:a16="http://schemas.microsoft.com/office/drawing/2014/main" id="{5F9E4E29-3C82-41DF-9008-20B8F54D30B5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434275" y="3238500"/>
                <a:ext cx="438150" cy="1524000"/>
              </a:xfrm>
              <a:custGeom>
                <a:avLst/>
                <a:gdLst>
                  <a:gd name="connsiteX0" fmla="*/ 1460500 w 2222501"/>
                  <a:gd name="connsiteY0" fmla="*/ 2540000 h 5080001"/>
                  <a:gd name="connsiteX1" fmla="*/ 0 w 2222501"/>
                  <a:gd name="connsiteY1" fmla="*/ 0 h 5080001"/>
                  <a:gd name="connsiteX2" fmla="*/ 762000 w 2222501"/>
                  <a:gd name="connsiteY2" fmla="*/ 0 h 5080001"/>
                  <a:gd name="connsiteX3" fmla="*/ 2222500 w 2222501"/>
                  <a:gd name="connsiteY3" fmla="*/ 2540000 h 5080001"/>
                  <a:gd name="connsiteX4" fmla="*/ 762000 w 2222501"/>
                  <a:gd name="connsiteY4" fmla="*/ 5080000 h 5080001"/>
                  <a:gd name="connsiteX5" fmla="*/ 0 w 2222501"/>
                  <a:gd name="connsiteY5" fmla="*/ 5080000 h 5080001"/>
                  <a:gd name="connsiteX6" fmla="*/ 1765300 w 2222501"/>
                  <a:gd name="connsiteY6" fmla="*/ 2844800 h 5080001"/>
                  <a:gd name="connsiteX0" fmla="*/ 1460500 w 2222501"/>
                  <a:gd name="connsiteY0" fmla="*/ 2540000 h 5080001"/>
                  <a:gd name="connsiteX1" fmla="*/ 0 w 2222501"/>
                  <a:gd name="connsiteY1" fmla="*/ 0 h 5080001"/>
                  <a:gd name="connsiteX2" fmla="*/ 762000 w 2222501"/>
                  <a:gd name="connsiteY2" fmla="*/ 0 h 5080001"/>
                  <a:gd name="connsiteX3" fmla="*/ 2222500 w 2222501"/>
                  <a:gd name="connsiteY3" fmla="*/ 2540000 h 5080001"/>
                  <a:gd name="connsiteX4" fmla="*/ 762000 w 2222501"/>
                  <a:gd name="connsiteY4" fmla="*/ 5080000 h 5080001"/>
                  <a:gd name="connsiteX5" fmla="*/ 0 w 2222501"/>
                  <a:gd name="connsiteY5" fmla="*/ 5080000 h 5080001"/>
                  <a:gd name="connsiteX0" fmla="*/ 0 w 2222501"/>
                  <a:gd name="connsiteY0" fmla="*/ 0 h 5080001"/>
                  <a:gd name="connsiteX1" fmla="*/ 762000 w 2222501"/>
                  <a:gd name="connsiteY1" fmla="*/ 0 h 5080001"/>
                  <a:gd name="connsiteX2" fmla="*/ 2222500 w 2222501"/>
                  <a:gd name="connsiteY2" fmla="*/ 2540000 h 5080001"/>
                  <a:gd name="connsiteX3" fmla="*/ 762000 w 2222501"/>
                  <a:gd name="connsiteY3" fmla="*/ 5080000 h 5080001"/>
                  <a:gd name="connsiteX4" fmla="*/ 0 w 2222501"/>
                  <a:gd name="connsiteY4" fmla="*/ 5080000 h 5080001"/>
                  <a:gd name="connsiteX0" fmla="*/ 762000 w 2222501"/>
                  <a:gd name="connsiteY0" fmla="*/ 0 h 5080001"/>
                  <a:gd name="connsiteX1" fmla="*/ 2222500 w 2222501"/>
                  <a:gd name="connsiteY1" fmla="*/ 2540000 h 5080001"/>
                  <a:gd name="connsiteX2" fmla="*/ 762000 w 2222501"/>
                  <a:gd name="connsiteY2" fmla="*/ 5080000 h 5080001"/>
                  <a:gd name="connsiteX3" fmla="*/ 0 w 2222501"/>
                  <a:gd name="connsiteY3" fmla="*/ 5080000 h 5080001"/>
                  <a:gd name="connsiteX0" fmla="*/ 0 w 1460501"/>
                  <a:gd name="connsiteY0" fmla="*/ 0 h 5080001"/>
                  <a:gd name="connsiteX1" fmla="*/ 1460500 w 1460501"/>
                  <a:gd name="connsiteY1" fmla="*/ 2540000 h 5080001"/>
                  <a:gd name="connsiteX2" fmla="*/ 0 w 1460501"/>
                  <a:gd name="connsiteY2" fmla="*/ 5080000 h 5080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60501" h="5080001">
                    <a:moveTo>
                      <a:pt x="0" y="0"/>
                    </a:moveTo>
                    <a:lnTo>
                      <a:pt x="1460500" y="2540000"/>
                    </a:lnTo>
                    <a:lnTo>
                      <a:pt x="0" y="5080000"/>
                    </a:lnTo>
                  </a:path>
                </a:pathLst>
              </a:custGeom>
              <a:noFill/>
              <a:ln w="9525" cap="rnd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550"/>
                <a:endParaRPr lang="en-GB" sz="1200" dirty="0" err="1">
                  <a:solidFill>
                    <a:srgbClr val="000000"/>
                  </a:solidFill>
                  <a:latin typeface="Segoe UI Light"/>
                  <a:ea typeface="ＭＳ Ｐゴシック"/>
                </a:endParaRPr>
              </a:p>
            </p:txBody>
          </p:sp>
        </p:grpSp>
      </p:grpSp>
      <p:cxnSp>
        <p:nvCxnSpPr>
          <p:cNvPr id="79" name="Straight Connector 32">
            <a:extLst>
              <a:ext uri="{FF2B5EF4-FFF2-40B4-BE49-F238E27FC236}">
                <a16:creationId xmlns:a16="http://schemas.microsoft.com/office/drawing/2014/main" id="{C390578C-F995-47B7-B532-7EBDB11C3BB5}"/>
              </a:ext>
            </a:extLst>
          </p:cNvPr>
          <p:cNvCxnSpPr/>
          <p:nvPr/>
        </p:nvCxnSpPr>
        <p:spPr>
          <a:xfrm>
            <a:off x="0" y="564421"/>
            <a:ext cx="9144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49E9B6D8-EF26-46E0-AE4C-CF6697A41E1D}"/>
              </a:ext>
            </a:extLst>
          </p:cNvPr>
          <p:cNvCxnSpPr>
            <a:cxnSpLocks/>
            <a:stCxn id="34" idx="2"/>
            <a:endCxn id="36" idx="0"/>
          </p:cNvCxnSpPr>
          <p:nvPr/>
        </p:nvCxnSpPr>
        <p:spPr>
          <a:xfrm rot="5400000">
            <a:off x="4344894" y="2468384"/>
            <a:ext cx="332949" cy="15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Соединитель: уступ 21">
            <a:extLst>
              <a:ext uri="{FF2B5EF4-FFF2-40B4-BE49-F238E27FC236}">
                <a16:creationId xmlns:a16="http://schemas.microsoft.com/office/drawing/2014/main" id="{EA1557D1-3BFA-4189-A904-FEEC13FC9F85}"/>
              </a:ext>
            </a:extLst>
          </p:cNvPr>
          <p:cNvCxnSpPr>
            <a:stCxn id="34" idx="2"/>
            <a:endCxn id="37" idx="0"/>
          </p:cNvCxnSpPr>
          <p:nvPr/>
        </p:nvCxnSpPr>
        <p:spPr>
          <a:xfrm rot="5400000">
            <a:off x="2732538" y="856028"/>
            <a:ext cx="332948" cy="3224712"/>
          </a:xfrm>
          <a:prstGeom prst="bentConnector3">
            <a:avLst/>
          </a:prstGeom>
          <a:ln>
            <a:solidFill>
              <a:schemeClr val="bg1">
                <a:lumMod val="50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Соединитель: уступ 59">
            <a:extLst>
              <a:ext uri="{FF2B5EF4-FFF2-40B4-BE49-F238E27FC236}">
                <a16:creationId xmlns:a16="http://schemas.microsoft.com/office/drawing/2014/main" id="{0C60A07B-72E4-44A2-9CFA-1143D3715432}"/>
              </a:ext>
            </a:extLst>
          </p:cNvPr>
          <p:cNvCxnSpPr>
            <a:cxnSpLocks/>
            <a:stCxn id="34" idx="2"/>
            <a:endCxn id="35" idx="0"/>
          </p:cNvCxnSpPr>
          <p:nvPr/>
        </p:nvCxnSpPr>
        <p:spPr>
          <a:xfrm rot="16200000" flipH="1">
            <a:off x="6100388" y="712890"/>
            <a:ext cx="332949" cy="3510988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Group 97">
            <a:extLst>
              <a:ext uri="{FF2B5EF4-FFF2-40B4-BE49-F238E27FC236}">
                <a16:creationId xmlns:a16="http://schemas.microsoft.com/office/drawing/2014/main" id="{B74E732D-911D-4D33-AC11-4B8374FF1E56}"/>
              </a:ext>
            </a:extLst>
          </p:cNvPr>
          <p:cNvGrpSpPr/>
          <p:nvPr>
            <p:custDataLst>
              <p:tags r:id="rId2"/>
            </p:custDataLst>
          </p:nvPr>
        </p:nvGrpSpPr>
        <p:grpSpPr bwMode="gray">
          <a:xfrm rot="5400000">
            <a:off x="7945480" y="3341759"/>
            <a:ext cx="153753" cy="736230"/>
            <a:chOff x="6801474" y="1968366"/>
            <a:chExt cx="245504" cy="802802"/>
          </a:xfrm>
        </p:grpSpPr>
        <p:sp>
          <p:nvSpPr>
            <p:cNvPr id="66" name="Rectangle 98">
              <a:extLst>
                <a:ext uri="{FF2B5EF4-FFF2-40B4-BE49-F238E27FC236}">
                  <a16:creationId xmlns:a16="http://schemas.microsoft.com/office/drawing/2014/main" id="{26EAC365-8914-43DB-9C0C-AFAF1E82FDF1}"/>
                </a:ext>
              </a:extLst>
            </p:cNvPr>
            <p:cNvSpPr/>
            <p:nvPr/>
          </p:nvSpPr>
          <p:spPr bwMode="gray">
            <a:xfrm>
              <a:off x="6846057" y="1968366"/>
              <a:ext cx="156341" cy="80280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8550"/>
              <a:endParaRPr lang="en-GB" sz="1200" dirty="0" err="1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  <p:grpSp>
          <p:nvGrpSpPr>
            <p:cNvPr id="67" name="Group 99">
              <a:extLst>
                <a:ext uri="{FF2B5EF4-FFF2-40B4-BE49-F238E27FC236}">
                  <a16:creationId xmlns:a16="http://schemas.microsoft.com/office/drawing/2014/main" id="{4C77EA9A-CBC2-457E-9FAB-7DE969FB226C}"/>
                </a:ext>
              </a:extLst>
            </p:cNvPr>
            <p:cNvGrpSpPr/>
            <p:nvPr/>
          </p:nvGrpSpPr>
          <p:grpSpPr bwMode="gray">
            <a:xfrm>
              <a:off x="6801474" y="2095154"/>
              <a:ext cx="245504" cy="549228"/>
              <a:chOff x="6191200" y="3238500"/>
              <a:chExt cx="681225" cy="1524000"/>
            </a:xfrm>
          </p:grpSpPr>
          <p:sp>
            <p:nvSpPr>
              <p:cNvPr id="68" name="Chevron1">
                <a:extLst>
                  <a:ext uri="{FF2B5EF4-FFF2-40B4-BE49-F238E27FC236}">
                    <a16:creationId xmlns:a16="http://schemas.microsoft.com/office/drawing/2014/main" id="{82947EEC-CD0A-47F0-9E27-58828F5E56D9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191200" y="3238500"/>
                <a:ext cx="438150" cy="1524000"/>
              </a:xfrm>
              <a:custGeom>
                <a:avLst/>
                <a:gdLst>
                  <a:gd name="connsiteX0" fmla="*/ 1460500 w 2222501"/>
                  <a:gd name="connsiteY0" fmla="*/ 2540000 h 5080001"/>
                  <a:gd name="connsiteX1" fmla="*/ 0 w 2222501"/>
                  <a:gd name="connsiteY1" fmla="*/ 0 h 5080001"/>
                  <a:gd name="connsiteX2" fmla="*/ 762000 w 2222501"/>
                  <a:gd name="connsiteY2" fmla="*/ 0 h 5080001"/>
                  <a:gd name="connsiteX3" fmla="*/ 2222500 w 2222501"/>
                  <a:gd name="connsiteY3" fmla="*/ 2540000 h 5080001"/>
                  <a:gd name="connsiteX4" fmla="*/ 762000 w 2222501"/>
                  <a:gd name="connsiteY4" fmla="*/ 5080000 h 5080001"/>
                  <a:gd name="connsiteX5" fmla="*/ 0 w 2222501"/>
                  <a:gd name="connsiteY5" fmla="*/ 5080000 h 5080001"/>
                  <a:gd name="connsiteX6" fmla="*/ 1765300 w 2222501"/>
                  <a:gd name="connsiteY6" fmla="*/ 2844800 h 5080001"/>
                  <a:gd name="connsiteX0" fmla="*/ 1460500 w 2222501"/>
                  <a:gd name="connsiteY0" fmla="*/ 2540000 h 5080001"/>
                  <a:gd name="connsiteX1" fmla="*/ 0 w 2222501"/>
                  <a:gd name="connsiteY1" fmla="*/ 0 h 5080001"/>
                  <a:gd name="connsiteX2" fmla="*/ 762000 w 2222501"/>
                  <a:gd name="connsiteY2" fmla="*/ 0 h 5080001"/>
                  <a:gd name="connsiteX3" fmla="*/ 2222500 w 2222501"/>
                  <a:gd name="connsiteY3" fmla="*/ 2540000 h 5080001"/>
                  <a:gd name="connsiteX4" fmla="*/ 762000 w 2222501"/>
                  <a:gd name="connsiteY4" fmla="*/ 5080000 h 5080001"/>
                  <a:gd name="connsiteX5" fmla="*/ 0 w 2222501"/>
                  <a:gd name="connsiteY5" fmla="*/ 5080000 h 5080001"/>
                  <a:gd name="connsiteX0" fmla="*/ 0 w 2222501"/>
                  <a:gd name="connsiteY0" fmla="*/ 0 h 5080001"/>
                  <a:gd name="connsiteX1" fmla="*/ 762000 w 2222501"/>
                  <a:gd name="connsiteY1" fmla="*/ 0 h 5080001"/>
                  <a:gd name="connsiteX2" fmla="*/ 2222500 w 2222501"/>
                  <a:gd name="connsiteY2" fmla="*/ 2540000 h 5080001"/>
                  <a:gd name="connsiteX3" fmla="*/ 762000 w 2222501"/>
                  <a:gd name="connsiteY3" fmla="*/ 5080000 h 5080001"/>
                  <a:gd name="connsiteX4" fmla="*/ 0 w 2222501"/>
                  <a:gd name="connsiteY4" fmla="*/ 5080000 h 5080001"/>
                  <a:gd name="connsiteX0" fmla="*/ 762000 w 2222501"/>
                  <a:gd name="connsiteY0" fmla="*/ 0 h 5080001"/>
                  <a:gd name="connsiteX1" fmla="*/ 2222500 w 2222501"/>
                  <a:gd name="connsiteY1" fmla="*/ 2540000 h 5080001"/>
                  <a:gd name="connsiteX2" fmla="*/ 762000 w 2222501"/>
                  <a:gd name="connsiteY2" fmla="*/ 5080000 h 5080001"/>
                  <a:gd name="connsiteX3" fmla="*/ 0 w 2222501"/>
                  <a:gd name="connsiteY3" fmla="*/ 5080000 h 5080001"/>
                  <a:gd name="connsiteX0" fmla="*/ 0 w 1460501"/>
                  <a:gd name="connsiteY0" fmla="*/ 0 h 5080001"/>
                  <a:gd name="connsiteX1" fmla="*/ 1460500 w 1460501"/>
                  <a:gd name="connsiteY1" fmla="*/ 2540000 h 5080001"/>
                  <a:gd name="connsiteX2" fmla="*/ 0 w 1460501"/>
                  <a:gd name="connsiteY2" fmla="*/ 5080000 h 5080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60501" h="5080001">
                    <a:moveTo>
                      <a:pt x="0" y="0"/>
                    </a:moveTo>
                    <a:lnTo>
                      <a:pt x="1460500" y="2540000"/>
                    </a:lnTo>
                    <a:lnTo>
                      <a:pt x="0" y="5080000"/>
                    </a:lnTo>
                  </a:path>
                </a:pathLst>
              </a:custGeom>
              <a:noFill/>
              <a:ln w="9525" cap="rnd">
                <a:solidFill>
                  <a:schemeClr val="accent3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550"/>
                <a:endParaRPr lang="en-GB" sz="1200" dirty="0" err="1">
                  <a:solidFill>
                    <a:srgbClr val="000000"/>
                  </a:solidFill>
                  <a:latin typeface="Segoe UI Light"/>
                  <a:ea typeface="ＭＳ Ｐゴシック"/>
                </a:endParaRPr>
              </a:p>
            </p:txBody>
          </p:sp>
          <p:sp>
            <p:nvSpPr>
              <p:cNvPr id="69" name="Chevron1">
                <a:extLst>
                  <a:ext uri="{FF2B5EF4-FFF2-40B4-BE49-F238E27FC236}">
                    <a16:creationId xmlns:a16="http://schemas.microsoft.com/office/drawing/2014/main" id="{14A9CACD-2398-47F9-BB9C-A5154F01411A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434275" y="3238500"/>
                <a:ext cx="438150" cy="1524000"/>
              </a:xfrm>
              <a:custGeom>
                <a:avLst/>
                <a:gdLst>
                  <a:gd name="connsiteX0" fmla="*/ 1460500 w 2222501"/>
                  <a:gd name="connsiteY0" fmla="*/ 2540000 h 5080001"/>
                  <a:gd name="connsiteX1" fmla="*/ 0 w 2222501"/>
                  <a:gd name="connsiteY1" fmla="*/ 0 h 5080001"/>
                  <a:gd name="connsiteX2" fmla="*/ 762000 w 2222501"/>
                  <a:gd name="connsiteY2" fmla="*/ 0 h 5080001"/>
                  <a:gd name="connsiteX3" fmla="*/ 2222500 w 2222501"/>
                  <a:gd name="connsiteY3" fmla="*/ 2540000 h 5080001"/>
                  <a:gd name="connsiteX4" fmla="*/ 762000 w 2222501"/>
                  <a:gd name="connsiteY4" fmla="*/ 5080000 h 5080001"/>
                  <a:gd name="connsiteX5" fmla="*/ 0 w 2222501"/>
                  <a:gd name="connsiteY5" fmla="*/ 5080000 h 5080001"/>
                  <a:gd name="connsiteX6" fmla="*/ 1765300 w 2222501"/>
                  <a:gd name="connsiteY6" fmla="*/ 2844800 h 5080001"/>
                  <a:gd name="connsiteX0" fmla="*/ 1460500 w 2222501"/>
                  <a:gd name="connsiteY0" fmla="*/ 2540000 h 5080001"/>
                  <a:gd name="connsiteX1" fmla="*/ 0 w 2222501"/>
                  <a:gd name="connsiteY1" fmla="*/ 0 h 5080001"/>
                  <a:gd name="connsiteX2" fmla="*/ 762000 w 2222501"/>
                  <a:gd name="connsiteY2" fmla="*/ 0 h 5080001"/>
                  <a:gd name="connsiteX3" fmla="*/ 2222500 w 2222501"/>
                  <a:gd name="connsiteY3" fmla="*/ 2540000 h 5080001"/>
                  <a:gd name="connsiteX4" fmla="*/ 762000 w 2222501"/>
                  <a:gd name="connsiteY4" fmla="*/ 5080000 h 5080001"/>
                  <a:gd name="connsiteX5" fmla="*/ 0 w 2222501"/>
                  <a:gd name="connsiteY5" fmla="*/ 5080000 h 5080001"/>
                  <a:gd name="connsiteX0" fmla="*/ 0 w 2222501"/>
                  <a:gd name="connsiteY0" fmla="*/ 0 h 5080001"/>
                  <a:gd name="connsiteX1" fmla="*/ 762000 w 2222501"/>
                  <a:gd name="connsiteY1" fmla="*/ 0 h 5080001"/>
                  <a:gd name="connsiteX2" fmla="*/ 2222500 w 2222501"/>
                  <a:gd name="connsiteY2" fmla="*/ 2540000 h 5080001"/>
                  <a:gd name="connsiteX3" fmla="*/ 762000 w 2222501"/>
                  <a:gd name="connsiteY3" fmla="*/ 5080000 h 5080001"/>
                  <a:gd name="connsiteX4" fmla="*/ 0 w 2222501"/>
                  <a:gd name="connsiteY4" fmla="*/ 5080000 h 5080001"/>
                  <a:gd name="connsiteX0" fmla="*/ 762000 w 2222501"/>
                  <a:gd name="connsiteY0" fmla="*/ 0 h 5080001"/>
                  <a:gd name="connsiteX1" fmla="*/ 2222500 w 2222501"/>
                  <a:gd name="connsiteY1" fmla="*/ 2540000 h 5080001"/>
                  <a:gd name="connsiteX2" fmla="*/ 762000 w 2222501"/>
                  <a:gd name="connsiteY2" fmla="*/ 5080000 h 5080001"/>
                  <a:gd name="connsiteX3" fmla="*/ 0 w 2222501"/>
                  <a:gd name="connsiteY3" fmla="*/ 5080000 h 5080001"/>
                  <a:gd name="connsiteX0" fmla="*/ 0 w 1460501"/>
                  <a:gd name="connsiteY0" fmla="*/ 0 h 5080001"/>
                  <a:gd name="connsiteX1" fmla="*/ 1460500 w 1460501"/>
                  <a:gd name="connsiteY1" fmla="*/ 2540000 h 5080001"/>
                  <a:gd name="connsiteX2" fmla="*/ 0 w 1460501"/>
                  <a:gd name="connsiteY2" fmla="*/ 5080000 h 5080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60501" h="5080001">
                    <a:moveTo>
                      <a:pt x="0" y="0"/>
                    </a:moveTo>
                    <a:lnTo>
                      <a:pt x="1460500" y="2540000"/>
                    </a:lnTo>
                    <a:lnTo>
                      <a:pt x="0" y="5080000"/>
                    </a:lnTo>
                  </a:path>
                </a:pathLst>
              </a:custGeom>
              <a:noFill/>
              <a:ln w="9525" cap="rnd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550"/>
                <a:endParaRPr lang="en-GB" sz="1200" dirty="0" err="1">
                  <a:solidFill>
                    <a:srgbClr val="000000"/>
                  </a:solidFill>
                  <a:latin typeface="Segoe UI Light"/>
                  <a:ea typeface="ＭＳ Ｐゴシック"/>
                </a:endParaRPr>
              </a:p>
            </p:txBody>
          </p:sp>
        </p:grpSp>
      </p:grpSp>
      <p:grpSp>
        <p:nvGrpSpPr>
          <p:cNvPr id="70" name="Group 97">
            <a:extLst>
              <a:ext uri="{FF2B5EF4-FFF2-40B4-BE49-F238E27FC236}">
                <a16:creationId xmlns:a16="http://schemas.microsoft.com/office/drawing/2014/main" id="{511FECCE-B25D-40AB-B01A-9D3ACCB20AB9}"/>
              </a:ext>
            </a:extLst>
          </p:cNvPr>
          <p:cNvGrpSpPr/>
          <p:nvPr>
            <p:custDataLst>
              <p:tags r:id="rId3"/>
            </p:custDataLst>
          </p:nvPr>
        </p:nvGrpSpPr>
        <p:grpSpPr bwMode="gray">
          <a:xfrm rot="5400000">
            <a:off x="4434492" y="3341759"/>
            <a:ext cx="153753" cy="736230"/>
            <a:chOff x="6801474" y="1968366"/>
            <a:chExt cx="245504" cy="802802"/>
          </a:xfrm>
        </p:grpSpPr>
        <p:sp>
          <p:nvSpPr>
            <p:cNvPr id="71" name="Rectangle 98">
              <a:extLst>
                <a:ext uri="{FF2B5EF4-FFF2-40B4-BE49-F238E27FC236}">
                  <a16:creationId xmlns:a16="http://schemas.microsoft.com/office/drawing/2014/main" id="{A8E8621B-95C6-4710-864F-E1D6A539C2B5}"/>
                </a:ext>
              </a:extLst>
            </p:cNvPr>
            <p:cNvSpPr/>
            <p:nvPr/>
          </p:nvSpPr>
          <p:spPr bwMode="gray">
            <a:xfrm>
              <a:off x="6846057" y="1968366"/>
              <a:ext cx="156341" cy="80280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8550"/>
              <a:endParaRPr lang="en-GB" sz="1200" dirty="0" err="1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  <p:grpSp>
          <p:nvGrpSpPr>
            <p:cNvPr id="72" name="Group 99">
              <a:extLst>
                <a:ext uri="{FF2B5EF4-FFF2-40B4-BE49-F238E27FC236}">
                  <a16:creationId xmlns:a16="http://schemas.microsoft.com/office/drawing/2014/main" id="{6B35AC38-B3E2-4BDE-BDE4-B39450932282}"/>
                </a:ext>
              </a:extLst>
            </p:cNvPr>
            <p:cNvGrpSpPr/>
            <p:nvPr/>
          </p:nvGrpSpPr>
          <p:grpSpPr bwMode="gray">
            <a:xfrm>
              <a:off x="6801474" y="2095154"/>
              <a:ext cx="245504" cy="549228"/>
              <a:chOff x="6191200" y="3238500"/>
              <a:chExt cx="681225" cy="1524000"/>
            </a:xfrm>
          </p:grpSpPr>
          <p:sp>
            <p:nvSpPr>
              <p:cNvPr id="73" name="Chevron1">
                <a:extLst>
                  <a:ext uri="{FF2B5EF4-FFF2-40B4-BE49-F238E27FC236}">
                    <a16:creationId xmlns:a16="http://schemas.microsoft.com/office/drawing/2014/main" id="{58CA142C-C215-4E13-A08B-80B33B3085E1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191200" y="3238500"/>
                <a:ext cx="438150" cy="1524000"/>
              </a:xfrm>
              <a:custGeom>
                <a:avLst/>
                <a:gdLst>
                  <a:gd name="connsiteX0" fmla="*/ 1460500 w 2222501"/>
                  <a:gd name="connsiteY0" fmla="*/ 2540000 h 5080001"/>
                  <a:gd name="connsiteX1" fmla="*/ 0 w 2222501"/>
                  <a:gd name="connsiteY1" fmla="*/ 0 h 5080001"/>
                  <a:gd name="connsiteX2" fmla="*/ 762000 w 2222501"/>
                  <a:gd name="connsiteY2" fmla="*/ 0 h 5080001"/>
                  <a:gd name="connsiteX3" fmla="*/ 2222500 w 2222501"/>
                  <a:gd name="connsiteY3" fmla="*/ 2540000 h 5080001"/>
                  <a:gd name="connsiteX4" fmla="*/ 762000 w 2222501"/>
                  <a:gd name="connsiteY4" fmla="*/ 5080000 h 5080001"/>
                  <a:gd name="connsiteX5" fmla="*/ 0 w 2222501"/>
                  <a:gd name="connsiteY5" fmla="*/ 5080000 h 5080001"/>
                  <a:gd name="connsiteX6" fmla="*/ 1765300 w 2222501"/>
                  <a:gd name="connsiteY6" fmla="*/ 2844800 h 5080001"/>
                  <a:gd name="connsiteX0" fmla="*/ 1460500 w 2222501"/>
                  <a:gd name="connsiteY0" fmla="*/ 2540000 h 5080001"/>
                  <a:gd name="connsiteX1" fmla="*/ 0 w 2222501"/>
                  <a:gd name="connsiteY1" fmla="*/ 0 h 5080001"/>
                  <a:gd name="connsiteX2" fmla="*/ 762000 w 2222501"/>
                  <a:gd name="connsiteY2" fmla="*/ 0 h 5080001"/>
                  <a:gd name="connsiteX3" fmla="*/ 2222500 w 2222501"/>
                  <a:gd name="connsiteY3" fmla="*/ 2540000 h 5080001"/>
                  <a:gd name="connsiteX4" fmla="*/ 762000 w 2222501"/>
                  <a:gd name="connsiteY4" fmla="*/ 5080000 h 5080001"/>
                  <a:gd name="connsiteX5" fmla="*/ 0 w 2222501"/>
                  <a:gd name="connsiteY5" fmla="*/ 5080000 h 5080001"/>
                  <a:gd name="connsiteX0" fmla="*/ 0 w 2222501"/>
                  <a:gd name="connsiteY0" fmla="*/ 0 h 5080001"/>
                  <a:gd name="connsiteX1" fmla="*/ 762000 w 2222501"/>
                  <a:gd name="connsiteY1" fmla="*/ 0 h 5080001"/>
                  <a:gd name="connsiteX2" fmla="*/ 2222500 w 2222501"/>
                  <a:gd name="connsiteY2" fmla="*/ 2540000 h 5080001"/>
                  <a:gd name="connsiteX3" fmla="*/ 762000 w 2222501"/>
                  <a:gd name="connsiteY3" fmla="*/ 5080000 h 5080001"/>
                  <a:gd name="connsiteX4" fmla="*/ 0 w 2222501"/>
                  <a:gd name="connsiteY4" fmla="*/ 5080000 h 5080001"/>
                  <a:gd name="connsiteX0" fmla="*/ 762000 w 2222501"/>
                  <a:gd name="connsiteY0" fmla="*/ 0 h 5080001"/>
                  <a:gd name="connsiteX1" fmla="*/ 2222500 w 2222501"/>
                  <a:gd name="connsiteY1" fmla="*/ 2540000 h 5080001"/>
                  <a:gd name="connsiteX2" fmla="*/ 762000 w 2222501"/>
                  <a:gd name="connsiteY2" fmla="*/ 5080000 h 5080001"/>
                  <a:gd name="connsiteX3" fmla="*/ 0 w 2222501"/>
                  <a:gd name="connsiteY3" fmla="*/ 5080000 h 5080001"/>
                  <a:gd name="connsiteX0" fmla="*/ 0 w 1460501"/>
                  <a:gd name="connsiteY0" fmla="*/ 0 h 5080001"/>
                  <a:gd name="connsiteX1" fmla="*/ 1460500 w 1460501"/>
                  <a:gd name="connsiteY1" fmla="*/ 2540000 h 5080001"/>
                  <a:gd name="connsiteX2" fmla="*/ 0 w 1460501"/>
                  <a:gd name="connsiteY2" fmla="*/ 5080000 h 5080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60501" h="5080001">
                    <a:moveTo>
                      <a:pt x="0" y="0"/>
                    </a:moveTo>
                    <a:lnTo>
                      <a:pt x="1460500" y="2540000"/>
                    </a:lnTo>
                    <a:lnTo>
                      <a:pt x="0" y="5080000"/>
                    </a:lnTo>
                  </a:path>
                </a:pathLst>
              </a:custGeom>
              <a:noFill/>
              <a:ln w="9525" cap="rnd">
                <a:solidFill>
                  <a:schemeClr val="accent3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550"/>
                <a:endParaRPr lang="en-GB" sz="1200" dirty="0" err="1">
                  <a:solidFill>
                    <a:srgbClr val="000000"/>
                  </a:solidFill>
                  <a:latin typeface="Segoe UI Light"/>
                  <a:ea typeface="ＭＳ Ｐゴシック"/>
                </a:endParaRPr>
              </a:p>
            </p:txBody>
          </p:sp>
          <p:sp>
            <p:nvSpPr>
              <p:cNvPr id="80" name="Chevron1">
                <a:extLst>
                  <a:ext uri="{FF2B5EF4-FFF2-40B4-BE49-F238E27FC236}">
                    <a16:creationId xmlns:a16="http://schemas.microsoft.com/office/drawing/2014/main" id="{9778B5B9-D49C-416E-8E7D-8E08746089CA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434275" y="3238500"/>
                <a:ext cx="438150" cy="1524000"/>
              </a:xfrm>
              <a:custGeom>
                <a:avLst/>
                <a:gdLst>
                  <a:gd name="connsiteX0" fmla="*/ 1460500 w 2222501"/>
                  <a:gd name="connsiteY0" fmla="*/ 2540000 h 5080001"/>
                  <a:gd name="connsiteX1" fmla="*/ 0 w 2222501"/>
                  <a:gd name="connsiteY1" fmla="*/ 0 h 5080001"/>
                  <a:gd name="connsiteX2" fmla="*/ 762000 w 2222501"/>
                  <a:gd name="connsiteY2" fmla="*/ 0 h 5080001"/>
                  <a:gd name="connsiteX3" fmla="*/ 2222500 w 2222501"/>
                  <a:gd name="connsiteY3" fmla="*/ 2540000 h 5080001"/>
                  <a:gd name="connsiteX4" fmla="*/ 762000 w 2222501"/>
                  <a:gd name="connsiteY4" fmla="*/ 5080000 h 5080001"/>
                  <a:gd name="connsiteX5" fmla="*/ 0 w 2222501"/>
                  <a:gd name="connsiteY5" fmla="*/ 5080000 h 5080001"/>
                  <a:gd name="connsiteX6" fmla="*/ 1765300 w 2222501"/>
                  <a:gd name="connsiteY6" fmla="*/ 2844800 h 5080001"/>
                  <a:gd name="connsiteX0" fmla="*/ 1460500 w 2222501"/>
                  <a:gd name="connsiteY0" fmla="*/ 2540000 h 5080001"/>
                  <a:gd name="connsiteX1" fmla="*/ 0 w 2222501"/>
                  <a:gd name="connsiteY1" fmla="*/ 0 h 5080001"/>
                  <a:gd name="connsiteX2" fmla="*/ 762000 w 2222501"/>
                  <a:gd name="connsiteY2" fmla="*/ 0 h 5080001"/>
                  <a:gd name="connsiteX3" fmla="*/ 2222500 w 2222501"/>
                  <a:gd name="connsiteY3" fmla="*/ 2540000 h 5080001"/>
                  <a:gd name="connsiteX4" fmla="*/ 762000 w 2222501"/>
                  <a:gd name="connsiteY4" fmla="*/ 5080000 h 5080001"/>
                  <a:gd name="connsiteX5" fmla="*/ 0 w 2222501"/>
                  <a:gd name="connsiteY5" fmla="*/ 5080000 h 5080001"/>
                  <a:gd name="connsiteX0" fmla="*/ 0 w 2222501"/>
                  <a:gd name="connsiteY0" fmla="*/ 0 h 5080001"/>
                  <a:gd name="connsiteX1" fmla="*/ 762000 w 2222501"/>
                  <a:gd name="connsiteY1" fmla="*/ 0 h 5080001"/>
                  <a:gd name="connsiteX2" fmla="*/ 2222500 w 2222501"/>
                  <a:gd name="connsiteY2" fmla="*/ 2540000 h 5080001"/>
                  <a:gd name="connsiteX3" fmla="*/ 762000 w 2222501"/>
                  <a:gd name="connsiteY3" fmla="*/ 5080000 h 5080001"/>
                  <a:gd name="connsiteX4" fmla="*/ 0 w 2222501"/>
                  <a:gd name="connsiteY4" fmla="*/ 5080000 h 5080001"/>
                  <a:gd name="connsiteX0" fmla="*/ 762000 w 2222501"/>
                  <a:gd name="connsiteY0" fmla="*/ 0 h 5080001"/>
                  <a:gd name="connsiteX1" fmla="*/ 2222500 w 2222501"/>
                  <a:gd name="connsiteY1" fmla="*/ 2540000 h 5080001"/>
                  <a:gd name="connsiteX2" fmla="*/ 762000 w 2222501"/>
                  <a:gd name="connsiteY2" fmla="*/ 5080000 h 5080001"/>
                  <a:gd name="connsiteX3" fmla="*/ 0 w 2222501"/>
                  <a:gd name="connsiteY3" fmla="*/ 5080000 h 5080001"/>
                  <a:gd name="connsiteX0" fmla="*/ 0 w 1460501"/>
                  <a:gd name="connsiteY0" fmla="*/ 0 h 5080001"/>
                  <a:gd name="connsiteX1" fmla="*/ 1460500 w 1460501"/>
                  <a:gd name="connsiteY1" fmla="*/ 2540000 h 5080001"/>
                  <a:gd name="connsiteX2" fmla="*/ 0 w 1460501"/>
                  <a:gd name="connsiteY2" fmla="*/ 5080000 h 5080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60501" h="5080001">
                    <a:moveTo>
                      <a:pt x="0" y="0"/>
                    </a:moveTo>
                    <a:lnTo>
                      <a:pt x="1460500" y="2540000"/>
                    </a:lnTo>
                    <a:lnTo>
                      <a:pt x="0" y="5080000"/>
                    </a:lnTo>
                  </a:path>
                </a:pathLst>
              </a:custGeom>
              <a:noFill/>
              <a:ln w="9525" cap="rnd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550"/>
                <a:endParaRPr lang="en-GB" sz="1200" dirty="0" err="1">
                  <a:solidFill>
                    <a:srgbClr val="000000"/>
                  </a:solidFill>
                  <a:latin typeface="Segoe UI Light"/>
                  <a:ea typeface="ＭＳ Ｐゴシック"/>
                </a:endParaRPr>
              </a:p>
            </p:txBody>
          </p:sp>
        </p:grpSp>
      </p:grpSp>
      <p:cxnSp>
        <p:nvCxnSpPr>
          <p:cNvPr id="81" name="Прямая соединительная линия 80">
            <a:extLst>
              <a:ext uri="{FF2B5EF4-FFF2-40B4-BE49-F238E27FC236}">
                <a16:creationId xmlns:a16="http://schemas.microsoft.com/office/drawing/2014/main" id="{7D44650D-9B01-4C71-8E29-EB05AEDD0021}"/>
              </a:ext>
            </a:extLst>
          </p:cNvPr>
          <p:cNvCxnSpPr>
            <a:cxnSpLocks/>
          </p:cNvCxnSpPr>
          <p:nvPr/>
        </p:nvCxnSpPr>
        <p:spPr>
          <a:xfrm>
            <a:off x="2505789" y="3784138"/>
            <a:ext cx="0" cy="1337136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Прямая соединительная линия 81">
            <a:extLst>
              <a:ext uri="{FF2B5EF4-FFF2-40B4-BE49-F238E27FC236}">
                <a16:creationId xmlns:a16="http://schemas.microsoft.com/office/drawing/2014/main" id="{72A9D67E-245F-498A-8AC6-0CB767B8CBAF}"/>
              </a:ext>
            </a:extLst>
          </p:cNvPr>
          <p:cNvCxnSpPr>
            <a:cxnSpLocks/>
          </p:cNvCxnSpPr>
          <p:nvPr/>
        </p:nvCxnSpPr>
        <p:spPr>
          <a:xfrm>
            <a:off x="6966029" y="3792451"/>
            <a:ext cx="0" cy="1337136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9562386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536.7491"/>
  <p:tag name="ORIGTOP" val="341.1953"/>
  <p:tag name="ORIGHEIGHT" val="63.21276"/>
  <p:tag name="ORIGWIDTH" val="19.3310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536.7491"/>
  <p:tag name="ORIGTOP" val="341.1953"/>
  <p:tag name="ORIGHEIGHT" val="63.21276"/>
  <p:tag name="ORIGWIDTH" val="19.3310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536.7491"/>
  <p:tag name="ORIGTOP" val="341.1953"/>
  <p:tag name="ORIGHEIGHT" val="63.21276"/>
  <p:tag name="ORIGWIDTH" val="19.3310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heme/theme1.xml><?xml version="1.0" encoding="utf-8"?>
<a:theme xmlns:a="http://schemas.openxmlformats.org/drawingml/2006/main" name="Contents Slide Master">
  <a:themeElements>
    <a:clrScheme name="ALLPPT COLOR - 10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96491"/>
      </a:accent1>
      <a:accent2>
        <a:srgbClr val="0587AF"/>
      </a:accent2>
      <a:accent3>
        <a:srgbClr val="19A5BE"/>
      </a:accent3>
      <a:accent4>
        <a:srgbClr val="53C3CD"/>
      </a:accent4>
      <a:accent5>
        <a:srgbClr val="5AB4C1"/>
      </a:accent5>
      <a:accent6>
        <a:srgbClr val="1A8EA9"/>
      </a:accent6>
      <a:hlink>
        <a:srgbClr val="0000FF"/>
      </a:hlink>
      <a:folHlink>
        <a:srgbClr val="800080"/>
      </a:folHlink>
    </a:clrScheme>
    <a:fontScheme name="ALLPPT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8_Contents Slide Master">
  <a:themeElements>
    <a:clrScheme name="ALLPPT COLOR - 10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96491"/>
      </a:accent1>
      <a:accent2>
        <a:srgbClr val="0587AF"/>
      </a:accent2>
      <a:accent3>
        <a:srgbClr val="19A5BE"/>
      </a:accent3>
      <a:accent4>
        <a:srgbClr val="53C3CD"/>
      </a:accent4>
      <a:accent5>
        <a:srgbClr val="5AB4C1"/>
      </a:accent5>
      <a:accent6>
        <a:srgbClr val="1A8EA9"/>
      </a:accent6>
      <a:hlink>
        <a:srgbClr val="0000FF"/>
      </a:hlink>
      <a:folHlink>
        <a:srgbClr val="800080"/>
      </a:folHlink>
    </a:clrScheme>
    <a:fontScheme name="ALLPPT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0_Contents Slide Master">
  <a:themeElements>
    <a:clrScheme name="ALLPPT COLOR - 10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96491"/>
      </a:accent1>
      <a:accent2>
        <a:srgbClr val="0587AF"/>
      </a:accent2>
      <a:accent3>
        <a:srgbClr val="19A5BE"/>
      </a:accent3>
      <a:accent4>
        <a:srgbClr val="53C3CD"/>
      </a:accent4>
      <a:accent5>
        <a:srgbClr val="5AB4C1"/>
      </a:accent5>
      <a:accent6>
        <a:srgbClr val="1A8EA9"/>
      </a:accent6>
      <a:hlink>
        <a:srgbClr val="0000FF"/>
      </a:hlink>
      <a:folHlink>
        <a:srgbClr val="800080"/>
      </a:folHlink>
    </a:clrScheme>
    <a:fontScheme name="ALLPPT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2_Contents Slide Master">
  <a:themeElements>
    <a:clrScheme name="ALLPPT COLOR - 10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96491"/>
      </a:accent1>
      <a:accent2>
        <a:srgbClr val="0587AF"/>
      </a:accent2>
      <a:accent3>
        <a:srgbClr val="19A5BE"/>
      </a:accent3>
      <a:accent4>
        <a:srgbClr val="53C3CD"/>
      </a:accent4>
      <a:accent5>
        <a:srgbClr val="5AB4C1"/>
      </a:accent5>
      <a:accent6>
        <a:srgbClr val="1A8EA9"/>
      </a:accent6>
      <a:hlink>
        <a:srgbClr val="0000FF"/>
      </a:hlink>
      <a:folHlink>
        <a:srgbClr val="800080"/>
      </a:folHlink>
    </a:clrScheme>
    <a:fontScheme name="ALLPPT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20_Contents Slide Master">
  <a:themeElements>
    <a:clrScheme name="ALLPPT COLOR - 10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96491"/>
      </a:accent1>
      <a:accent2>
        <a:srgbClr val="0587AF"/>
      </a:accent2>
      <a:accent3>
        <a:srgbClr val="19A5BE"/>
      </a:accent3>
      <a:accent4>
        <a:srgbClr val="53C3CD"/>
      </a:accent4>
      <a:accent5>
        <a:srgbClr val="5AB4C1"/>
      </a:accent5>
      <a:accent6>
        <a:srgbClr val="1A8EA9"/>
      </a:accent6>
      <a:hlink>
        <a:srgbClr val="0000FF"/>
      </a:hlink>
      <a:folHlink>
        <a:srgbClr val="800080"/>
      </a:folHlink>
    </a:clrScheme>
    <a:fontScheme name="ALLPPT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2508</TotalTime>
  <Words>1294</Words>
  <Application>Microsoft Office PowerPoint</Application>
  <PresentationFormat>Экран (16:9)</PresentationFormat>
  <Paragraphs>497</Paragraphs>
  <Slides>18</Slides>
  <Notes>8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7</vt:i4>
      </vt:variant>
      <vt:variant>
        <vt:lpstr>Заголовки слайдов</vt:lpstr>
      </vt:variant>
      <vt:variant>
        <vt:i4>18</vt:i4>
      </vt:variant>
    </vt:vector>
  </HeadingPairs>
  <TitlesOfParts>
    <vt:vector size="36" baseType="lpstr">
      <vt:lpstr>ＭＳ Ｐゴシック</vt:lpstr>
      <vt:lpstr>Arial</vt:lpstr>
      <vt:lpstr>Arial Unicode MS</vt:lpstr>
      <vt:lpstr>Calibri</vt:lpstr>
      <vt:lpstr>Lato Heavy</vt:lpstr>
      <vt:lpstr>Segoe UI Black</vt:lpstr>
      <vt:lpstr>Segoe UI Light</vt:lpstr>
      <vt:lpstr>Segoe UI Semibold</vt:lpstr>
      <vt:lpstr>Segoe Ul light</vt:lpstr>
      <vt:lpstr>Tahoma</vt:lpstr>
      <vt:lpstr>Wingdings</vt:lpstr>
      <vt:lpstr>Contents Slide Master</vt:lpstr>
      <vt:lpstr>Office Theme</vt:lpstr>
      <vt:lpstr>8_Contents Slide Master</vt:lpstr>
      <vt:lpstr>10_Contents Slide Master</vt:lpstr>
      <vt:lpstr>12_Contents Slide Master</vt:lpstr>
      <vt:lpstr>20_Contents Slide Master</vt:lpstr>
      <vt:lpstr>1_Office Them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азвитие сельских территорий (АУЫЛ – ЕЛ БЕСІГІ)</dc:title>
  <dc:creator>Данияр Игимбаев</dc:creator>
  <cp:lastModifiedBy>Мадина Пайзиева</cp:lastModifiedBy>
  <cp:revision>657</cp:revision>
  <cp:lastPrinted>2022-04-08T04:53:36Z</cp:lastPrinted>
  <dcterms:created xsi:type="dcterms:W3CDTF">2019-01-14T06:35:35Z</dcterms:created>
  <dcterms:modified xsi:type="dcterms:W3CDTF">2022-04-20T03:52:37Z</dcterms:modified>
</cp:coreProperties>
</file>